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tmp" ContentType="image/png"/>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5.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6.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9.xml" ContentType="application/vnd.openxmlformats-officedocument.presentationml.notesSlide+xml"/>
  <Override PartName="/ppt/tags/tag24.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Lst>
  <p:notesMasterIdLst>
    <p:notesMasterId r:id="rId52"/>
  </p:notesMasterIdLst>
  <p:handoutMasterIdLst>
    <p:handoutMasterId r:id="rId53"/>
  </p:handoutMasterIdLst>
  <p:sldIdLst>
    <p:sldId id="295" r:id="rId2"/>
    <p:sldId id="426" r:id="rId3"/>
    <p:sldId id="412" r:id="rId4"/>
    <p:sldId id="256" r:id="rId5"/>
    <p:sldId id="260" r:id="rId6"/>
    <p:sldId id="258" r:id="rId7"/>
    <p:sldId id="259" r:id="rId8"/>
    <p:sldId id="438" r:id="rId9"/>
    <p:sldId id="439" r:id="rId10"/>
    <p:sldId id="440" r:id="rId11"/>
    <p:sldId id="441" r:id="rId12"/>
    <p:sldId id="442" r:id="rId13"/>
    <p:sldId id="443" r:id="rId14"/>
    <p:sldId id="444" r:id="rId15"/>
    <p:sldId id="445" r:id="rId16"/>
    <p:sldId id="446" r:id="rId17"/>
    <p:sldId id="447" r:id="rId18"/>
    <p:sldId id="448" r:id="rId19"/>
    <p:sldId id="449" r:id="rId20"/>
    <p:sldId id="450" r:id="rId21"/>
    <p:sldId id="451" r:id="rId22"/>
    <p:sldId id="452" r:id="rId23"/>
    <p:sldId id="453" r:id="rId24"/>
    <p:sldId id="454" r:id="rId25"/>
    <p:sldId id="455" r:id="rId26"/>
    <p:sldId id="456" r:id="rId27"/>
    <p:sldId id="418" r:id="rId28"/>
    <p:sldId id="419" r:id="rId29"/>
    <p:sldId id="420" r:id="rId30"/>
    <p:sldId id="421" r:id="rId31"/>
    <p:sldId id="422" r:id="rId32"/>
    <p:sldId id="423" r:id="rId33"/>
    <p:sldId id="424" r:id="rId34"/>
    <p:sldId id="413" r:id="rId35"/>
    <p:sldId id="376" r:id="rId36"/>
    <p:sldId id="377" r:id="rId37"/>
    <p:sldId id="378" r:id="rId38"/>
    <p:sldId id="414" r:id="rId39"/>
    <p:sldId id="415" r:id="rId40"/>
    <p:sldId id="416" r:id="rId41"/>
    <p:sldId id="389" r:id="rId42"/>
    <p:sldId id="417" r:id="rId43"/>
    <p:sldId id="390" r:id="rId44"/>
    <p:sldId id="393" r:id="rId45"/>
    <p:sldId id="392" r:id="rId46"/>
    <p:sldId id="394" r:id="rId47"/>
    <p:sldId id="436" r:id="rId48"/>
    <p:sldId id="437" r:id="rId49"/>
    <p:sldId id="457" r:id="rId50"/>
    <p:sldId id="425" r:id="rId51"/>
  </p:sldIdLst>
  <p:sldSz cx="9904413" cy="6859588"/>
  <p:notesSz cx="9874250" cy="6797675"/>
  <p:custDataLst>
    <p:tags r:id="rId54"/>
  </p:custDataLst>
  <p:defaultTextStyle>
    <a:defPPr>
      <a:defRPr lang="de-DE"/>
    </a:defPPr>
    <a:lvl1pPr marL="0" algn="l" defTabSz="957925" rtl="0" eaLnBrk="1" latinLnBrk="0" hangingPunct="1">
      <a:defRPr sz="1900" kern="1200">
        <a:solidFill>
          <a:schemeClr val="tx1"/>
        </a:solidFill>
        <a:latin typeface="+mn-lt"/>
        <a:ea typeface="+mn-ea"/>
        <a:cs typeface="+mn-cs"/>
      </a:defRPr>
    </a:lvl1pPr>
    <a:lvl2pPr marL="478963" algn="l" defTabSz="957925" rtl="0" eaLnBrk="1" latinLnBrk="0" hangingPunct="1">
      <a:defRPr sz="1900" kern="1200">
        <a:solidFill>
          <a:schemeClr val="tx1"/>
        </a:solidFill>
        <a:latin typeface="+mn-lt"/>
        <a:ea typeface="+mn-ea"/>
        <a:cs typeface="+mn-cs"/>
      </a:defRPr>
    </a:lvl2pPr>
    <a:lvl3pPr marL="957925" algn="l" defTabSz="957925" rtl="0" eaLnBrk="1" latinLnBrk="0" hangingPunct="1">
      <a:defRPr sz="1900" kern="1200">
        <a:solidFill>
          <a:schemeClr val="tx1"/>
        </a:solidFill>
        <a:latin typeface="+mn-lt"/>
        <a:ea typeface="+mn-ea"/>
        <a:cs typeface="+mn-cs"/>
      </a:defRPr>
    </a:lvl3pPr>
    <a:lvl4pPr marL="1436888" algn="l" defTabSz="957925" rtl="0" eaLnBrk="1" latinLnBrk="0" hangingPunct="1">
      <a:defRPr sz="1900" kern="1200">
        <a:solidFill>
          <a:schemeClr val="tx1"/>
        </a:solidFill>
        <a:latin typeface="+mn-lt"/>
        <a:ea typeface="+mn-ea"/>
        <a:cs typeface="+mn-cs"/>
      </a:defRPr>
    </a:lvl4pPr>
    <a:lvl5pPr marL="1915851" algn="l" defTabSz="957925" rtl="0" eaLnBrk="1" latinLnBrk="0" hangingPunct="1">
      <a:defRPr sz="1900" kern="1200">
        <a:solidFill>
          <a:schemeClr val="tx1"/>
        </a:solidFill>
        <a:latin typeface="+mn-lt"/>
        <a:ea typeface="+mn-ea"/>
        <a:cs typeface="+mn-cs"/>
      </a:defRPr>
    </a:lvl5pPr>
    <a:lvl6pPr marL="2394814" algn="l" defTabSz="957925" rtl="0" eaLnBrk="1" latinLnBrk="0" hangingPunct="1">
      <a:defRPr sz="1900" kern="1200">
        <a:solidFill>
          <a:schemeClr val="tx1"/>
        </a:solidFill>
        <a:latin typeface="+mn-lt"/>
        <a:ea typeface="+mn-ea"/>
        <a:cs typeface="+mn-cs"/>
      </a:defRPr>
    </a:lvl6pPr>
    <a:lvl7pPr marL="2873776" algn="l" defTabSz="957925" rtl="0" eaLnBrk="1" latinLnBrk="0" hangingPunct="1">
      <a:defRPr sz="1900" kern="1200">
        <a:solidFill>
          <a:schemeClr val="tx1"/>
        </a:solidFill>
        <a:latin typeface="+mn-lt"/>
        <a:ea typeface="+mn-ea"/>
        <a:cs typeface="+mn-cs"/>
      </a:defRPr>
    </a:lvl7pPr>
    <a:lvl8pPr marL="3352739" algn="l" defTabSz="957925" rtl="0" eaLnBrk="1" latinLnBrk="0" hangingPunct="1">
      <a:defRPr sz="1900" kern="1200">
        <a:solidFill>
          <a:schemeClr val="tx1"/>
        </a:solidFill>
        <a:latin typeface="+mn-lt"/>
        <a:ea typeface="+mn-ea"/>
        <a:cs typeface="+mn-cs"/>
      </a:defRPr>
    </a:lvl8pPr>
    <a:lvl9pPr marL="3831702" algn="l" defTabSz="957925"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31">
          <p15:clr>
            <a:srgbClr val="A4A3A4"/>
          </p15:clr>
        </p15:guide>
        <p15:guide id="2" orient="horz" pos="187">
          <p15:clr>
            <a:srgbClr val="A4A3A4"/>
          </p15:clr>
        </p15:guide>
        <p15:guide id="3" orient="horz" pos="3975">
          <p15:clr>
            <a:srgbClr val="A4A3A4"/>
          </p15:clr>
        </p15:guide>
        <p15:guide id="4" orient="horz" pos="4066">
          <p15:clr>
            <a:srgbClr val="A4A3A4"/>
          </p15:clr>
        </p15:guide>
        <p15:guide id="5" orient="horz" pos="867">
          <p15:clr>
            <a:srgbClr val="A4A3A4"/>
          </p15:clr>
        </p15:guide>
        <p15:guide id="6" orient="horz" pos="572">
          <p15:clr>
            <a:srgbClr val="A4A3A4"/>
          </p15:clr>
        </p15:guide>
        <p15:guide id="7" orient="horz">
          <p15:clr>
            <a:srgbClr val="A4A3A4"/>
          </p15:clr>
        </p15:guide>
        <p15:guide id="8" pos="3119">
          <p15:clr>
            <a:srgbClr val="A4A3A4"/>
          </p15:clr>
        </p15:guide>
        <p15:guide id="9" pos="3210">
          <p15:clr>
            <a:srgbClr val="A4A3A4"/>
          </p15:clr>
        </p15:guide>
        <p15:guide id="10" pos="6238">
          <p15:clr>
            <a:srgbClr val="A4A3A4"/>
          </p15:clr>
        </p15:guide>
        <p15:guide id="11" pos="6090">
          <p15:clr>
            <a:srgbClr val="A4A3A4"/>
          </p15:clr>
        </p15:guide>
        <p15:guide id="12" pos="3028">
          <p15:clr>
            <a:srgbClr val="A4A3A4"/>
          </p15:clr>
        </p15:guide>
        <p15:guide id="13" pos="171">
          <p15:clr>
            <a:srgbClr val="A4A3A4"/>
          </p15:clr>
        </p15:guide>
        <p15:guide id="14" pos="5954">
          <p15:clr>
            <a:srgbClr val="A4A3A4"/>
          </p15:clr>
        </p15:guide>
        <p15:guide id="15" pos="284">
          <p15:clr>
            <a:srgbClr val="A4A3A4"/>
          </p15:clr>
        </p15:guide>
      </p15:sldGuideLst>
    </p:ext>
    <p:ext uri="{2D200454-40CA-4A62-9FC3-DE9A4176ACB9}">
      <p15:notesGuideLst xmlns:p15="http://schemas.microsoft.com/office/powerpoint/2012/main">
        <p15:guide id="1" orient="horz" pos="2141" userDrawn="1">
          <p15:clr>
            <a:srgbClr val="A4A3A4"/>
          </p15:clr>
        </p15:guide>
        <p15:guide id="2" pos="311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D9D9D"/>
    <a:srgbClr val="FF2222"/>
    <a:srgbClr val="CF9191"/>
    <a:srgbClr val="8E2929"/>
    <a:srgbClr val="7F7F7F"/>
    <a:srgbClr val="E65454"/>
    <a:srgbClr val="EC8080"/>
    <a:srgbClr val="E75B5B"/>
    <a:srgbClr val="9B1717"/>
    <a:srgbClr val="74111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286" autoAdjust="0"/>
    <p:restoredTop sz="87981" autoAdjust="0"/>
  </p:normalViewPr>
  <p:slideViewPr>
    <p:cSldViewPr snapToObjects="1" showGuides="1">
      <p:cViewPr varScale="1">
        <p:scale>
          <a:sx n="87" d="100"/>
          <a:sy n="87" d="100"/>
        </p:scale>
        <p:origin x="932" y="56"/>
      </p:cViewPr>
      <p:guideLst>
        <p:guide orient="horz" pos="731"/>
        <p:guide orient="horz" pos="187"/>
        <p:guide orient="horz" pos="3975"/>
        <p:guide orient="horz" pos="4066"/>
        <p:guide orient="horz" pos="867"/>
        <p:guide orient="horz" pos="572"/>
        <p:guide orient="horz"/>
        <p:guide pos="3119"/>
        <p:guide pos="3210"/>
        <p:guide pos="6238"/>
        <p:guide pos="6090"/>
        <p:guide pos="3028"/>
        <p:guide pos="171"/>
        <p:guide pos="5954"/>
        <p:guide pos="284"/>
      </p:guideLst>
    </p:cSldViewPr>
  </p:slideViewPr>
  <p:outlineViewPr>
    <p:cViewPr>
      <p:scale>
        <a:sx n="33" d="100"/>
        <a:sy n="33" d="100"/>
      </p:scale>
      <p:origin x="0" y="0"/>
    </p:cViewPr>
  </p:outlineViewPr>
  <p:notesTextViewPr>
    <p:cViewPr>
      <p:scale>
        <a:sx n="110" d="100"/>
        <a:sy n="110" d="100"/>
      </p:scale>
      <p:origin x="0" y="0"/>
    </p:cViewPr>
  </p:notesTextViewPr>
  <p:sorterViewPr>
    <p:cViewPr>
      <p:scale>
        <a:sx n="70" d="100"/>
        <a:sy n="70" d="100"/>
      </p:scale>
      <p:origin x="0" y="0"/>
    </p:cViewPr>
  </p:sorterViewPr>
  <p:notesViewPr>
    <p:cSldViewPr snapToObjects="1" showGuides="1">
      <p:cViewPr varScale="1">
        <p:scale>
          <a:sx n="43" d="100"/>
          <a:sy n="43" d="100"/>
        </p:scale>
        <p:origin x="-2010" y="-120"/>
      </p:cViewPr>
      <p:guideLst>
        <p:guide orient="horz" pos="2141"/>
        <p:guide pos="3110"/>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handoutMaster" Target="handoutMasters/handoutMaster1.xml"/><Relationship Id="rId58"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oleObject" Target="file:///C:\Users\Songtao\OneDrive\&#26700;&#38754;\BD\BD&#25968;&#25454;.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Songtao\OneDrive\&#26700;&#38754;\BD\BD&#25968;&#25454;.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Mac\Home\Desktop\&#24037;&#20316;&#31807;1.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milo_\Desktop\&#20313;&#39069;&#23453;&#25910;&#30410;&#24773;&#20917;.xls"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D&#30424;\&#21271;&#22823;&#27719;&#20016;\&#30740;&#20108;&#19978;\&#22823;&#25968;&#25454;\&#22823;&#20316;&#19994;-&#24265;&#36842;\&#26032;&#24314;%20Microsoft%20Excel%20&#24037;&#20316;&#34920;.xlsx" TargetMode="External"/><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ile!$N$1</c:f>
              <c:strCache>
                <c:ptCount val="1"/>
                <c:pt idx="0">
                  <c:v> Tianhong MMF Scale (100M￥) </c:v>
                </c:pt>
              </c:strCache>
            </c:strRef>
          </c:tx>
          <c:spPr>
            <a:solidFill>
              <a:srgbClr val="9B1717"/>
            </a:solidFill>
            <a:ln>
              <a:noFill/>
            </a:ln>
            <a:effectLst/>
          </c:spPr>
          <c:invertIfNegative val="0"/>
          <c:cat>
            <c:strRef>
              <c:f>file!$M$2:$M$13</c:f>
              <c:strCache>
                <c:ptCount val="12"/>
                <c:pt idx="0">
                  <c:v>2013/12/31</c:v>
                </c:pt>
                <c:pt idx="1">
                  <c:v>2014/6/30</c:v>
                </c:pt>
                <c:pt idx="2">
                  <c:v>2014/12/31</c:v>
                </c:pt>
                <c:pt idx="3">
                  <c:v>2015/6/30</c:v>
                </c:pt>
                <c:pt idx="4">
                  <c:v>2015/12/31</c:v>
                </c:pt>
                <c:pt idx="5">
                  <c:v>2016/6/30</c:v>
                </c:pt>
                <c:pt idx="6">
                  <c:v>2016/12/31</c:v>
                </c:pt>
                <c:pt idx="7">
                  <c:v>2017/6/30</c:v>
                </c:pt>
                <c:pt idx="8">
                  <c:v>2017/12/31</c:v>
                </c:pt>
                <c:pt idx="9">
                  <c:v>2018/6/30</c:v>
                </c:pt>
                <c:pt idx="10">
                  <c:v>2018/12/31</c:v>
                </c:pt>
                <c:pt idx="11">
                  <c:v>2019/6/30</c:v>
                </c:pt>
              </c:strCache>
            </c:strRef>
          </c:cat>
          <c:val>
            <c:numRef>
              <c:f>file!$N$2:$N$13</c:f>
              <c:numCache>
                <c:formatCode>_(* #,##0.00_);_(* \(#,##0.00\);_(* "-"??_);_(@_)</c:formatCode>
                <c:ptCount val="12"/>
                <c:pt idx="0">
                  <c:v>1853.4201572597999</c:v>
                </c:pt>
                <c:pt idx="1">
                  <c:v>5741.6039937181986</c:v>
                </c:pt>
                <c:pt idx="2">
                  <c:v>5789.3576138981007</c:v>
                </c:pt>
                <c:pt idx="3">
                  <c:v>6133.8056551307</c:v>
                </c:pt>
                <c:pt idx="4">
                  <c:v>6206.9049164068001</c:v>
                </c:pt>
                <c:pt idx="5">
                  <c:v>8163.1241143403004</c:v>
                </c:pt>
                <c:pt idx="6">
                  <c:v>8082.9352302609004</c:v>
                </c:pt>
                <c:pt idx="7">
                  <c:v>14318.054887063199</c:v>
                </c:pt>
                <c:pt idx="8">
                  <c:v>15798.323963758499</c:v>
                </c:pt>
                <c:pt idx="9">
                  <c:v>14540.209551005501</c:v>
                </c:pt>
                <c:pt idx="10">
                  <c:v>11327.068654003</c:v>
                </c:pt>
                <c:pt idx="11">
                  <c:v>10335.6270006265</c:v>
                </c:pt>
              </c:numCache>
            </c:numRef>
          </c:val>
          <c:extLst>
            <c:ext xmlns:c16="http://schemas.microsoft.com/office/drawing/2014/chart" uri="{C3380CC4-5D6E-409C-BE32-E72D297353CC}">
              <c16:uniqueId val="{00000000-AB0B-4C40-A115-AC45BB1B3DEC}"/>
            </c:ext>
          </c:extLst>
        </c:ser>
        <c:dLbls>
          <c:showLegendKey val="0"/>
          <c:showVal val="0"/>
          <c:showCatName val="0"/>
          <c:showSerName val="0"/>
          <c:showPercent val="0"/>
          <c:showBubbleSize val="0"/>
        </c:dLbls>
        <c:gapWidth val="219"/>
        <c:axId val="1523277424"/>
        <c:axId val="1523064128"/>
      </c:barChart>
      <c:lineChart>
        <c:grouping val="standard"/>
        <c:varyColors val="0"/>
        <c:ser>
          <c:idx val="1"/>
          <c:order val="1"/>
          <c:tx>
            <c:strRef>
              <c:f>file!$O$1</c:f>
              <c:strCache>
                <c:ptCount val="1"/>
                <c:pt idx="0">
                  <c:v> Tianhong MMF Scale per capita (￥) </c:v>
                </c:pt>
              </c:strCache>
            </c:strRef>
          </c:tx>
          <c:spPr>
            <a:ln w="28575" cap="rnd">
              <a:solidFill>
                <a:srgbClr val="E75B5B"/>
              </a:solidFill>
              <a:round/>
            </a:ln>
            <a:effectLst/>
          </c:spPr>
          <c:marker>
            <c:symbol val="none"/>
          </c:marker>
          <c:cat>
            <c:strRef>
              <c:f>file!$M$2:$M$13</c:f>
              <c:strCache>
                <c:ptCount val="12"/>
                <c:pt idx="0">
                  <c:v>2013/12/31</c:v>
                </c:pt>
                <c:pt idx="1">
                  <c:v>2014/6/30</c:v>
                </c:pt>
                <c:pt idx="2">
                  <c:v>2014/12/31</c:v>
                </c:pt>
                <c:pt idx="3">
                  <c:v>2015/6/30</c:v>
                </c:pt>
                <c:pt idx="4">
                  <c:v>2015/12/31</c:v>
                </c:pt>
                <c:pt idx="5">
                  <c:v>2016/6/30</c:v>
                </c:pt>
                <c:pt idx="6">
                  <c:v>2016/12/31</c:v>
                </c:pt>
                <c:pt idx="7">
                  <c:v>2017/6/30</c:v>
                </c:pt>
                <c:pt idx="8">
                  <c:v>2017/12/31</c:v>
                </c:pt>
                <c:pt idx="9">
                  <c:v>2018/6/30</c:v>
                </c:pt>
                <c:pt idx="10">
                  <c:v>2018/12/31</c:v>
                </c:pt>
                <c:pt idx="11">
                  <c:v>2019/6/30</c:v>
                </c:pt>
              </c:strCache>
            </c:strRef>
          </c:cat>
          <c:val>
            <c:numRef>
              <c:f>file!$O$2:$O$13</c:f>
              <c:numCache>
                <c:formatCode>###,###,###,##0.00</c:formatCode>
                <c:ptCount val="12"/>
                <c:pt idx="0">
                  <c:v>4307.33</c:v>
                </c:pt>
                <c:pt idx="1">
                  <c:v>4636</c:v>
                </c:pt>
                <c:pt idx="2">
                  <c:v>3133.47</c:v>
                </c:pt>
                <c:pt idx="3">
                  <c:v>2717.32</c:v>
                </c:pt>
                <c:pt idx="4">
                  <c:v>2372.1999999999998</c:v>
                </c:pt>
                <c:pt idx="5">
                  <c:v>2677.93</c:v>
                </c:pt>
                <c:pt idx="6">
                  <c:v>2489.98</c:v>
                </c:pt>
                <c:pt idx="7">
                  <c:v>3885.14</c:v>
                </c:pt>
                <c:pt idx="8">
                  <c:v>3329.57</c:v>
                </c:pt>
                <c:pt idx="9">
                  <c:v>2602.92</c:v>
                </c:pt>
                <c:pt idx="10">
                  <c:v>1924.83</c:v>
                </c:pt>
                <c:pt idx="11">
                  <c:v>1669.22</c:v>
                </c:pt>
              </c:numCache>
            </c:numRef>
          </c:val>
          <c:smooth val="0"/>
          <c:extLst>
            <c:ext xmlns:c16="http://schemas.microsoft.com/office/drawing/2014/chart" uri="{C3380CC4-5D6E-409C-BE32-E72D297353CC}">
              <c16:uniqueId val="{00000001-AB0B-4C40-A115-AC45BB1B3DEC}"/>
            </c:ext>
          </c:extLst>
        </c:ser>
        <c:dLbls>
          <c:showLegendKey val="0"/>
          <c:showVal val="0"/>
          <c:showCatName val="0"/>
          <c:showSerName val="0"/>
          <c:showPercent val="0"/>
          <c:showBubbleSize val="0"/>
        </c:dLbls>
        <c:marker val="1"/>
        <c:smooth val="0"/>
        <c:axId val="1522589952"/>
        <c:axId val="1523079328"/>
      </c:lineChart>
      <c:catAx>
        <c:axId val="15232774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1523064128"/>
        <c:crosses val="autoZero"/>
        <c:auto val="1"/>
        <c:lblAlgn val="ctr"/>
        <c:lblOffset val="100"/>
        <c:noMultiLvlLbl val="0"/>
      </c:catAx>
      <c:valAx>
        <c:axId val="1523064128"/>
        <c:scaling>
          <c:orientation val="minMax"/>
        </c:scaling>
        <c:delete val="0"/>
        <c:axPos val="l"/>
        <c:majorGridlines>
          <c:spPr>
            <a:ln w="9525" cap="flat" cmpd="sng" algn="ctr">
              <a:solidFill>
                <a:schemeClr val="tx1">
                  <a:lumMod val="15000"/>
                  <a:lumOff val="85000"/>
                </a:schemeClr>
              </a:solidFill>
              <a:round/>
            </a:ln>
            <a:effectLst/>
          </c:spPr>
        </c:majorGridlines>
        <c:numFmt formatCode="_(* #,##0.00_);_(* \(#,##0.0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1523277424"/>
        <c:crosses val="autoZero"/>
        <c:crossBetween val="between"/>
      </c:valAx>
      <c:valAx>
        <c:axId val="1523079328"/>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1522589952"/>
        <c:crosses val="max"/>
        <c:crossBetween val="between"/>
      </c:valAx>
      <c:catAx>
        <c:axId val="1522589952"/>
        <c:scaling>
          <c:orientation val="minMax"/>
        </c:scaling>
        <c:delete val="1"/>
        <c:axPos val="b"/>
        <c:numFmt formatCode="General" sourceLinked="1"/>
        <c:majorTickMark val="out"/>
        <c:minorTickMark val="none"/>
        <c:tickLblPos val="nextTo"/>
        <c:crossAx val="1523079328"/>
        <c:crosses val="autoZero"/>
        <c:auto val="1"/>
        <c:lblAlgn val="ctr"/>
        <c:lblOffset val="100"/>
        <c:noMultiLvlLbl val="0"/>
      </c:catAx>
      <c:spPr>
        <a:noFill/>
        <a:ln>
          <a:noFill/>
        </a:ln>
        <a:effectLst/>
      </c:spPr>
    </c:plotArea>
    <c:legend>
      <c:legendPos val="t"/>
      <c:layout>
        <c:manualLayout>
          <c:xMode val="edge"/>
          <c:yMode val="edge"/>
          <c:x val="0.216597112860892"/>
          <c:y val="5.2847304579406201E-2"/>
          <c:w val="0.48347222222222203"/>
          <c:h val="0.120383100067197"/>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legend>
    <c:plotVisOnly val="1"/>
    <c:dispBlanksAs val="gap"/>
    <c:showDLblsOverMax val="0"/>
  </c:chart>
  <c:spPr>
    <a:noFill/>
    <a:ln>
      <a:noFill/>
    </a:ln>
    <a:effectLst/>
  </c:spPr>
  <c:txPr>
    <a:bodyPr/>
    <a:lstStyle/>
    <a:p>
      <a:pPr>
        <a:defRPr/>
      </a:pPr>
      <a:endParaRPr lang="zh-C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file!$G$1</c:f>
              <c:strCache>
                <c:ptCount val="1"/>
                <c:pt idx="0">
                  <c:v>MMFs Annualized Rate (7days)</c:v>
                </c:pt>
              </c:strCache>
            </c:strRef>
          </c:tx>
          <c:spPr>
            <a:ln w="19050" cap="rnd">
              <a:solidFill>
                <a:srgbClr val="9B1717"/>
              </a:solidFill>
              <a:round/>
            </a:ln>
            <a:effectLst/>
          </c:spPr>
          <c:marker>
            <c:symbol val="none"/>
          </c:marker>
          <c:cat>
            <c:numRef>
              <c:f>file!$C$2:$C$1962</c:f>
              <c:numCache>
                <c:formatCode>m/d/yyyy</c:formatCode>
                <c:ptCount val="1961"/>
                <c:pt idx="0">
                  <c:v>41424</c:v>
                </c:pt>
                <c:pt idx="1">
                  <c:v>41427</c:v>
                </c:pt>
                <c:pt idx="2">
                  <c:v>41428</c:v>
                </c:pt>
                <c:pt idx="3">
                  <c:v>41429</c:v>
                </c:pt>
                <c:pt idx="4">
                  <c:v>41430</c:v>
                </c:pt>
                <c:pt idx="5">
                  <c:v>41431</c:v>
                </c:pt>
                <c:pt idx="6">
                  <c:v>41432</c:v>
                </c:pt>
                <c:pt idx="7">
                  <c:v>41437</c:v>
                </c:pt>
                <c:pt idx="8">
                  <c:v>41438</c:v>
                </c:pt>
                <c:pt idx="9">
                  <c:v>41439</c:v>
                </c:pt>
                <c:pt idx="10">
                  <c:v>41441</c:v>
                </c:pt>
                <c:pt idx="11">
                  <c:v>41442</c:v>
                </c:pt>
                <c:pt idx="12">
                  <c:v>41443</c:v>
                </c:pt>
                <c:pt idx="13">
                  <c:v>41444</c:v>
                </c:pt>
                <c:pt idx="14">
                  <c:v>41445</c:v>
                </c:pt>
                <c:pt idx="15">
                  <c:v>41446</c:v>
                </c:pt>
                <c:pt idx="16">
                  <c:v>41448</c:v>
                </c:pt>
                <c:pt idx="17">
                  <c:v>41449</c:v>
                </c:pt>
                <c:pt idx="18">
                  <c:v>41450</c:v>
                </c:pt>
                <c:pt idx="19">
                  <c:v>41451</c:v>
                </c:pt>
                <c:pt idx="20">
                  <c:v>41452</c:v>
                </c:pt>
                <c:pt idx="21">
                  <c:v>41453</c:v>
                </c:pt>
                <c:pt idx="22">
                  <c:v>41455</c:v>
                </c:pt>
                <c:pt idx="23">
                  <c:v>41456</c:v>
                </c:pt>
                <c:pt idx="24">
                  <c:v>41457</c:v>
                </c:pt>
                <c:pt idx="25">
                  <c:v>41458</c:v>
                </c:pt>
                <c:pt idx="26">
                  <c:v>41459</c:v>
                </c:pt>
                <c:pt idx="27">
                  <c:v>41460</c:v>
                </c:pt>
                <c:pt idx="28">
                  <c:v>41462</c:v>
                </c:pt>
                <c:pt idx="29">
                  <c:v>41463</c:v>
                </c:pt>
                <c:pt idx="30">
                  <c:v>41464</c:v>
                </c:pt>
                <c:pt idx="31">
                  <c:v>41465</c:v>
                </c:pt>
                <c:pt idx="32">
                  <c:v>41466</c:v>
                </c:pt>
                <c:pt idx="33">
                  <c:v>41467</c:v>
                </c:pt>
                <c:pt idx="34">
                  <c:v>41469</c:v>
                </c:pt>
                <c:pt idx="35">
                  <c:v>41470</c:v>
                </c:pt>
                <c:pt idx="36">
                  <c:v>41471</c:v>
                </c:pt>
                <c:pt idx="37">
                  <c:v>41472</c:v>
                </c:pt>
                <c:pt idx="38">
                  <c:v>41473</c:v>
                </c:pt>
                <c:pt idx="39">
                  <c:v>41474</c:v>
                </c:pt>
                <c:pt idx="40">
                  <c:v>41476</c:v>
                </c:pt>
                <c:pt idx="41">
                  <c:v>41477</c:v>
                </c:pt>
                <c:pt idx="42">
                  <c:v>41478</c:v>
                </c:pt>
                <c:pt idx="43">
                  <c:v>41479</c:v>
                </c:pt>
                <c:pt idx="44">
                  <c:v>41480</c:v>
                </c:pt>
                <c:pt idx="45">
                  <c:v>41481</c:v>
                </c:pt>
                <c:pt idx="46">
                  <c:v>41483</c:v>
                </c:pt>
                <c:pt idx="47">
                  <c:v>41484</c:v>
                </c:pt>
                <c:pt idx="48">
                  <c:v>41485</c:v>
                </c:pt>
                <c:pt idx="49">
                  <c:v>41486</c:v>
                </c:pt>
                <c:pt idx="50">
                  <c:v>41487</c:v>
                </c:pt>
                <c:pt idx="51">
                  <c:v>41488</c:v>
                </c:pt>
                <c:pt idx="52">
                  <c:v>41490</c:v>
                </c:pt>
                <c:pt idx="53">
                  <c:v>41491</c:v>
                </c:pt>
                <c:pt idx="54">
                  <c:v>41492</c:v>
                </c:pt>
                <c:pt idx="55">
                  <c:v>41493</c:v>
                </c:pt>
                <c:pt idx="56">
                  <c:v>41494</c:v>
                </c:pt>
                <c:pt idx="57">
                  <c:v>41495</c:v>
                </c:pt>
                <c:pt idx="58">
                  <c:v>41497</c:v>
                </c:pt>
                <c:pt idx="59">
                  <c:v>41498</c:v>
                </c:pt>
                <c:pt idx="60">
                  <c:v>41499</c:v>
                </c:pt>
                <c:pt idx="61">
                  <c:v>41500</c:v>
                </c:pt>
                <c:pt idx="62">
                  <c:v>41501</c:v>
                </c:pt>
                <c:pt idx="63">
                  <c:v>41502</c:v>
                </c:pt>
                <c:pt idx="64">
                  <c:v>41504</c:v>
                </c:pt>
                <c:pt idx="65">
                  <c:v>41505</c:v>
                </c:pt>
                <c:pt idx="66">
                  <c:v>41506</c:v>
                </c:pt>
                <c:pt idx="67">
                  <c:v>41507</c:v>
                </c:pt>
                <c:pt idx="68">
                  <c:v>41508</c:v>
                </c:pt>
                <c:pt idx="69">
                  <c:v>41509</c:v>
                </c:pt>
                <c:pt idx="70">
                  <c:v>41511</c:v>
                </c:pt>
                <c:pt idx="71">
                  <c:v>41512</c:v>
                </c:pt>
                <c:pt idx="72">
                  <c:v>41513</c:v>
                </c:pt>
                <c:pt idx="73">
                  <c:v>41514</c:v>
                </c:pt>
                <c:pt idx="74">
                  <c:v>41515</c:v>
                </c:pt>
                <c:pt idx="75">
                  <c:v>41516</c:v>
                </c:pt>
                <c:pt idx="76">
                  <c:v>41518</c:v>
                </c:pt>
                <c:pt idx="77">
                  <c:v>41519</c:v>
                </c:pt>
                <c:pt idx="78">
                  <c:v>41520</c:v>
                </c:pt>
                <c:pt idx="79">
                  <c:v>41521</c:v>
                </c:pt>
                <c:pt idx="80">
                  <c:v>41522</c:v>
                </c:pt>
                <c:pt idx="81">
                  <c:v>41523</c:v>
                </c:pt>
                <c:pt idx="82">
                  <c:v>41525</c:v>
                </c:pt>
                <c:pt idx="83">
                  <c:v>41526</c:v>
                </c:pt>
                <c:pt idx="84">
                  <c:v>41527</c:v>
                </c:pt>
                <c:pt idx="85">
                  <c:v>41528</c:v>
                </c:pt>
                <c:pt idx="86">
                  <c:v>41529</c:v>
                </c:pt>
                <c:pt idx="87">
                  <c:v>41530</c:v>
                </c:pt>
                <c:pt idx="88">
                  <c:v>41532</c:v>
                </c:pt>
                <c:pt idx="89">
                  <c:v>41533</c:v>
                </c:pt>
                <c:pt idx="90">
                  <c:v>41534</c:v>
                </c:pt>
                <c:pt idx="91">
                  <c:v>41535</c:v>
                </c:pt>
                <c:pt idx="92">
                  <c:v>41539</c:v>
                </c:pt>
                <c:pt idx="93">
                  <c:v>41540</c:v>
                </c:pt>
                <c:pt idx="94">
                  <c:v>41541</c:v>
                </c:pt>
                <c:pt idx="95">
                  <c:v>41542</c:v>
                </c:pt>
                <c:pt idx="96">
                  <c:v>41543</c:v>
                </c:pt>
                <c:pt idx="97">
                  <c:v>41544</c:v>
                </c:pt>
                <c:pt idx="98">
                  <c:v>41546</c:v>
                </c:pt>
                <c:pt idx="99">
                  <c:v>41547</c:v>
                </c:pt>
                <c:pt idx="100">
                  <c:v>41554</c:v>
                </c:pt>
                <c:pt idx="101">
                  <c:v>41555</c:v>
                </c:pt>
                <c:pt idx="102">
                  <c:v>41556</c:v>
                </c:pt>
                <c:pt idx="103">
                  <c:v>41557</c:v>
                </c:pt>
                <c:pt idx="104">
                  <c:v>41558</c:v>
                </c:pt>
                <c:pt idx="105">
                  <c:v>41560</c:v>
                </c:pt>
                <c:pt idx="106">
                  <c:v>41561</c:v>
                </c:pt>
                <c:pt idx="107">
                  <c:v>41562</c:v>
                </c:pt>
                <c:pt idx="108">
                  <c:v>41563</c:v>
                </c:pt>
                <c:pt idx="109">
                  <c:v>41564</c:v>
                </c:pt>
                <c:pt idx="110">
                  <c:v>41565</c:v>
                </c:pt>
                <c:pt idx="111">
                  <c:v>41567</c:v>
                </c:pt>
                <c:pt idx="112">
                  <c:v>41568</c:v>
                </c:pt>
                <c:pt idx="113">
                  <c:v>41569</c:v>
                </c:pt>
                <c:pt idx="114">
                  <c:v>41570</c:v>
                </c:pt>
                <c:pt idx="115">
                  <c:v>41571</c:v>
                </c:pt>
                <c:pt idx="116">
                  <c:v>41572</c:v>
                </c:pt>
                <c:pt idx="117">
                  <c:v>41574</c:v>
                </c:pt>
                <c:pt idx="118">
                  <c:v>41575</c:v>
                </c:pt>
                <c:pt idx="119">
                  <c:v>41576</c:v>
                </c:pt>
                <c:pt idx="120">
                  <c:v>41577</c:v>
                </c:pt>
                <c:pt idx="121">
                  <c:v>41578</c:v>
                </c:pt>
                <c:pt idx="122">
                  <c:v>41579</c:v>
                </c:pt>
                <c:pt idx="123">
                  <c:v>41581</c:v>
                </c:pt>
                <c:pt idx="124">
                  <c:v>41582</c:v>
                </c:pt>
                <c:pt idx="125">
                  <c:v>41583</c:v>
                </c:pt>
                <c:pt idx="126">
                  <c:v>41584</c:v>
                </c:pt>
                <c:pt idx="127">
                  <c:v>41585</c:v>
                </c:pt>
                <c:pt idx="128">
                  <c:v>41586</c:v>
                </c:pt>
                <c:pt idx="129">
                  <c:v>41588</c:v>
                </c:pt>
                <c:pt idx="130">
                  <c:v>41589</c:v>
                </c:pt>
                <c:pt idx="131">
                  <c:v>41590</c:v>
                </c:pt>
                <c:pt idx="132">
                  <c:v>41591</c:v>
                </c:pt>
                <c:pt idx="133">
                  <c:v>41592</c:v>
                </c:pt>
                <c:pt idx="134">
                  <c:v>41593</c:v>
                </c:pt>
                <c:pt idx="135">
                  <c:v>41595</c:v>
                </c:pt>
                <c:pt idx="136">
                  <c:v>41596</c:v>
                </c:pt>
                <c:pt idx="137">
                  <c:v>41597</c:v>
                </c:pt>
                <c:pt idx="138">
                  <c:v>41598</c:v>
                </c:pt>
                <c:pt idx="139">
                  <c:v>41599</c:v>
                </c:pt>
                <c:pt idx="140">
                  <c:v>41600</c:v>
                </c:pt>
                <c:pt idx="141">
                  <c:v>41602</c:v>
                </c:pt>
                <c:pt idx="142">
                  <c:v>41603</c:v>
                </c:pt>
                <c:pt idx="143">
                  <c:v>41604</c:v>
                </c:pt>
                <c:pt idx="144">
                  <c:v>41605</c:v>
                </c:pt>
                <c:pt idx="145">
                  <c:v>41606</c:v>
                </c:pt>
                <c:pt idx="146">
                  <c:v>41607</c:v>
                </c:pt>
                <c:pt idx="147">
                  <c:v>41609</c:v>
                </c:pt>
                <c:pt idx="148">
                  <c:v>41610</c:v>
                </c:pt>
                <c:pt idx="149">
                  <c:v>41611</c:v>
                </c:pt>
                <c:pt idx="150">
                  <c:v>41612</c:v>
                </c:pt>
                <c:pt idx="151">
                  <c:v>41613</c:v>
                </c:pt>
                <c:pt idx="152">
                  <c:v>41614</c:v>
                </c:pt>
                <c:pt idx="153">
                  <c:v>41616</c:v>
                </c:pt>
                <c:pt idx="154">
                  <c:v>41617</c:v>
                </c:pt>
                <c:pt idx="155">
                  <c:v>41618</c:v>
                </c:pt>
                <c:pt idx="156">
                  <c:v>41619</c:v>
                </c:pt>
                <c:pt idx="157">
                  <c:v>41620</c:v>
                </c:pt>
                <c:pt idx="158">
                  <c:v>41621</c:v>
                </c:pt>
                <c:pt idx="159">
                  <c:v>41623</c:v>
                </c:pt>
                <c:pt idx="160">
                  <c:v>41624</c:v>
                </c:pt>
                <c:pt idx="161">
                  <c:v>41625</c:v>
                </c:pt>
                <c:pt idx="162">
                  <c:v>41626</c:v>
                </c:pt>
                <c:pt idx="163">
                  <c:v>41627</c:v>
                </c:pt>
                <c:pt idx="164">
                  <c:v>41628</c:v>
                </c:pt>
                <c:pt idx="165">
                  <c:v>41630</c:v>
                </c:pt>
                <c:pt idx="166">
                  <c:v>41631</c:v>
                </c:pt>
                <c:pt idx="167">
                  <c:v>41632</c:v>
                </c:pt>
                <c:pt idx="168">
                  <c:v>41633</c:v>
                </c:pt>
                <c:pt idx="169">
                  <c:v>41634</c:v>
                </c:pt>
                <c:pt idx="170">
                  <c:v>41635</c:v>
                </c:pt>
                <c:pt idx="171">
                  <c:v>41637</c:v>
                </c:pt>
                <c:pt idx="172">
                  <c:v>41638</c:v>
                </c:pt>
                <c:pt idx="173">
                  <c:v>41639</c:v>
                </c:pt>
                <c:pt idx="174">
                  <c:v>41640</c:v>
                </c:pt>
                <c:pt idx="175">
                  <c:v>41641</c:v>
                </c:pt>
                <c:pt idx="176">
                  <c:v>41642</c:v>
                </c:pt>
                <c:pt idx="177">
                  <c:v>41644</c:v>
                </c:pt>
                <c:pt idx="178">
                  <c:v>41645</c:v>
                </c:pt>
                <c:pt idx="179">
                  <c:v>41646</c:v>
                </c:pt>
                <c:pt idx="180">
                  <c:v>41647</c:v>
                </c:pt>
                <c:pt idx="181">
                  <c:v>41648</c:v>
                </c:pt>
                <c:pt idx="182">
                  <c:v>41649</c:v>
                </c:pt>
                <c:pt idx="183">
                  <c:v>41651</c:v>
                </c:pt>
                <c:pt idx="184">
                  <c:v>41652</c:v>
                </c:pt>
                <c:pt idx="185">
                  <c:v>41653</c:v>
                </c:pt>
                <c:pt idx="186">
                  <c:v>41654</c:v>
                </c:pt>
                <c:pt idx="187">
                  <c:v>41655</c:v>
                </c:pt>
                <c:pt idx="188">
                  <c:v>41656</c:v>
                </c:pt>
                <c:pt idx="189">
                  <c:v>41658</c:v>
                </c:pt>
                <c:pt idx="190">
                  <c:v>41659</c:v>
                </c:pt>
                <c:pt idx="191">
                  <c:v>41660</c:v>
                </c:pt>
                <c:pt idx="192">
                  <c:v>41661</c:v>
                </c:pt>
                <c:pt idx="193">
                  <c:v>41662</c:v>
                </c:pt>
                <c:pt idx="194">
                  <c:v>41663</c:v>
                </c:pt>
                <c:pt idx="195">
                  <c:v>41665</c:v>
                </c:pt>
                <c:pt idx="196">
                  <c:v>41666</c:v>
                </c:pt>
                <c:pt idx="197">
                  <c:v>41667</c:v>
                </c:pt>
                <c:pt idx="198">
                  <c:v>41668</c:v>
                </c:pt>
                <c:pt idx="199">
                  <c:v>41669</c:v>
                </c:pt>
                <c:pt idx="200">
                  <c:v>41676</c:v>
                </c:pt>
                <c:pt idx="201">
                  <c:v>41677</c:v>
                </c:pt>
                <c:pt idx="202">
                  <c:v>41679</c:v>
                </c:pt>
                <c:pt idx="203">
                  <c:v>41680</c:v>
                </c:pt>
                <c:pt idx="204">
                  <c:v>41681</c:v>
                </c:pt>
                <c:pt idx="205">
                  <c:v>41682</c:v>
                </c:pt>
                <c:pt idx="206">
                  <c:v>41683</c:v>
                </c:pt>
                <c:pt idx="207">
                  <c:v>41684</c:v>
                </c:pt>
                <c:pt idx="208">
                  <c:v>41686</c:v>
                </c:pt>
                <c:pt idx="209">
                  <c:v>41687</c:v>
                </c:pt>
                <c:pt idx="210">
                  <c:v>41688</c:v>
                </c:pt>
                <c:pt idx="211">
                  <c:v>41689</c:v>
                </c:pt>
                <c:pt idx="212">
                  <c:v>41690</c:v>
                </c:pt>
                <c:pt idx="213">
                  <c:v>41691</c:v>
                </c:pt>
                <c:pt idx="214">
                  <c:v>41693</c:v>
                </c:pt>
                <c:pt idx="215">
                  <c:v>41694</c:v>
                </c:pt>
                <c:pt idx="216">
                  <c:v>41695</c:v>
                </c:pt>
                <c:pt idx="217">
                  <c:v>41696</c:v>
                </c:pt>
                <c:pt idx="218">
                  <c:v>41697</c:v>
                </c:pt>
                <c:pt idx="219">
                  <c:v>41698</c:v>
                </c:pt>
                <c:pt idx="220">
                  <c:v>41700</c:v>
                </c:pt>
                <c:pt idx="221">
                  <c:v>41701</c:v>
                </c:pt>
                <c:pt idx="222">
                  <c:v>41702</c:v>
                </c:pt>
                <c:pt idx="223">
                  <c:v>41703</c:v>
                </c:pt>
                <c:pt idx="224">
                  <c:v>41704</c:v>
                </c:pt>
                <c:pt idx="225">
                  <c:v>41705</c:v>
                </c:pt>
                <c:pt idx="226">
                  <c:v>41707</c:v>
                </c:pt>
                <c:pt idx="227">
                  <c:v>41708</c:v>
                </c:pt>
                <c:pt idx="228">
                  <c:v>41709</c:v>
                </c:pt>
                <c:pt idx="229">
                  <c:v>41710</c:v>
                </c:pt>
                <c:pt idx="230">
                  <c:v>41711</c:v>
                </c:pt>
                <c:pt idx="231">
                  <c:v>41712</c:v>
                </c:pt>
                <c:pt idx="232">
                  <c:v>41714</c:v>
                </c:pt>
                <c:pt idx="233">
                  <c:v>41715</c:v>
                </c:pt>
                <c:pt idx="234">
                  <c:v>41716</c:v>
                </c:pt>
                <c:pt idx="235">
                  <c:v>41717</c:v>
                </c:pt>
                <c:pt idx="236">
                  <c:v>41718</c:v>
                </c:pt>
                <c:pt idx="237">
                  <c:v>41719</c:v>
                </c:pt>
                <c:pt idx="238">
                  <c:v>41721</c:v>
                </c:pt>
                <c:pt idx="239">
                  <c:v>41722</c:v>
                </c:pt>
                <c:pt idx="240">
                  <c:v>41723</c:v>
                </c:pt>
                <c:pt idx="241">
                  <c:v>41724</c:v>
                </c:pt>
                <c:pt idx="242">
                  <c:v>41725</c:v>
                </c:pt>
                <c:pt idx="243">
                  <c:v>41726</c:v>
                </c:pt>
                <c:pt idx="244">
                  <c:v>41728</c:v>
                </c:pt>
                <c:pt idx="245">
                  <c:v>41729</c:v>
                </c:pt>
                <c:pt idx="246">
                  <c:v>41730</c:v>
                </c:pt>
                <c:pt idx="247">
                  <c:v>41731</c:v>
                </c:pt>
                <c:pt idx="248">
                  <c:v>41732</c:v>
                </c:pt>
                <c:pt idx="249">
                  <c:v>41733</c:v>
                </c:pt>
                <c:pt idx="250">
                  <c:v>41736</c:v>
                </c:pt>
                <c:pt idx="251">
                  <c:v>41737</c:v>
                </c:pt>
                <c:pt idx="252">
                  <c:v>41738</c:v>
                </c:pt>
                <c:pt idx="253">
                  <c:v>41739</c:v>
                </c:pt>
                <c:pt idx="254">
                  <c:v>41740</c:v>
                </c:pt>
                <c:pt idx="255">
                  <c:v>41742</c:v>
                </c:pt>
                <c:pt idx="256">
                  <c:v>41743</c:v>
                </c:pt>
                <c:pt idx="257">
                  <c:v>41744</c:v>
                </c:pt>
                <c:pt idx="258">
                  <c:v>41745</c:v>
                </c:pt>
                <c:pt idx="259">
                  <c:v>41746</c:v>
                </c:pt>
                <c:pt idx="260">
                  <c:v>41747</c:v>
                </c:pt>
                <c:pt idx="261">
                  <c:v>41749</c:v>
                </c:pt>
                <c:pt idx="262">
                  <c:v>41750</c:v>
                </c:pt>
                <c:pt idx="263">
                  <c:v>41751</c:v>
                </c:pt>
                <c:pt idx="264">
                  <c:v>41752</c:v>
                </c:pt>
                <c:pt idx="265">
                  <c:v>41753</c:v>
                </c:pt>
                <c:pt idx="266">
                  <c:v>41754</c:v>
                </c:pt>
                <c:pt idx="267">
                  <c:v>41756</c:v>
                </c:pt>
                <c:pt idx="268">
                  <c:v>41757</c:v>
                </c:pt>
                <c:pt idx="269">
                  <c:v>41758</c:v>
                </c:pt>
                <c:pt idx="270">
                  <c:v>41759</c:v>
                </c:pt>
                <c:pt idx="271">
                  <c:v>41763</c:v>
                </c:pt>
                <c:pt idx="272">
                  <c:v>41764</c:v>
                </c:pt>
                <c:pt idx="273">
                  <c:v>41765</c:v>
                </c:pt>
                <c:pt idx="274">
                  <c:v>41766</c:v>
                </c:pt>
                <c:pt idx="275">
                  <c:v>41767</c:v>
                </c:pt>
                <c:pt idx="276">
                  <c:v>41768</c:v>
                </c:pt>
                <c:pt idx="277">
                  <c:v>41770</c:v>
                </c:pt>
                <c:pt idx="278">
                  <c:v>41771</c:v>
                </c:pt>
                <c:pt idx="279">
                  <c:v>41772</c:v>
                </c:pt>
                <c:pt idx="280">
                  <c:v>41773</c:v>
                </c:pt>
                <c:pt idx="281">
                  <c:v>41774</c:v>
                </c:pt>
                <c:pt idx="282">
                  <c:v>41775</c:v>
                </c:pt>
                <c:pt idx="283">
                  <c:v>41777</c:v>
                </c:pt>
                <c:pt idx="284">
                  <c:v>41778</c:v>
                </c:pt>
                <c:pt idx="285">
                  <c:v>41779</c:v>
                </c:pt>
                <c:pt idx="286">
                  <c:v>41780</c:v>
                </c:pt>
                <c:pt idx="287">
                  <c:v>41781</c:v>
                </c:pt>
                <c:pt idx="288">
                  <c:v>41782</c:v>
                </c:pt>
                <c:pt idx="289">
                  <c:v>41784</c:v>
                </c:pt>
                <c:pt idx="290">
                  <c:v>41785</c:v>
                </c:pt>
                <c:pt idx="291">
                  <c:v>41786</c:v>
                </c:pt>
                <c:pt idx="292">
                  <c:v>41787</c:v>
                </c:pt>
                <c:pt idx="293">
                  <c:v>41788</c:v>
                </c:pt>
                <c:pt idx="294">
                  <c:v>41789</c:v>
                </c:pt>
                <c:pt idx="295">
                  <c:v>41792</c:v>
                </c:pt>
                <c:pt idx="296">
                  <c:v>41793</c:v>
                </c:pt>
                <c:pt idx="297">
                  <c:v>41794</c:v>
                </c:pt>
                <c:pt idx="298">
                  <c:v>41795</c:v>
                </c:pt>
                <c:pt idx="299">
                  <c:v>41796</c:v>
                </c:pt>
                <c:pt idx="300">
                  <c:v>41798</c:v>
                </c:pt>
                <c:pt idx="301">
                  <c:v>41799</c:v>
                </c:pt>
                <c:pt idx="302">
                  <c:v>41800</c:v>
                </c:pt>
                <c:pt idx="303">
                  <c:v>41801</c:v>
                </c:pt>
                <c:pt idx="304">
                  <c:v>41802</c:v>
                </c:pt>
                <c:pt idx="305">
                  <c:v>41803</c:v>
                </c:pt>
                <c:pt idx="306">
                  <c:v>41805</c:v>
                </c:pt>
                <c:pt idx="307">
                  <c:v>41806</c:v>
                </c:pt>
                <c:pt idx="308">
                  <c:v>41807</c:v>
                </c:pt>
                <c:pt idx="309">
                  <c:v>41808</c:v>
                </c:pt>
                <c:pt idx="310">
                  <c:v>41809</c:v>
                </c:pt>
                <c:pt idx="311">
                  <c:v>41810</c:v>
                </c:pt>
                <c:pt idx="312">
                  <c:v>41812</c:v>
                </c:pt>
                <c:pt idx="313">
                  <c:v>41813</c:v>
                </c:pt>
                <c:pt idx="314">
                  <c:v>41814</c:v>
                </c:pt>
                <c:pt idx="315">
                  <c:v>41815</c:v>
                </c:pt>
                <c:pt idx="316">
                  <c:v>41816</c:v>
                </c:pt>
                <c:pt idx="317">
                  <c:v>41817</c:v>
                </c:pt>
                <c:pt idx="318">
                  <c:v>41819</c:v>
                </c:pt>
                <c:pt idx="319">
                  <c:v>41820</c:v>
                </c:pt>
                <c:pt idx="320">
                  <c:v>41821</c:v>
                </c:pt>
                <c:pt idx="321">
                  <c:v>41822</c:v>
                </c:pt>
                <c:pt idx="322">
                  <c:v>41823</c:v>
                </c:pt>
                <c:pt idx="323">
                  <c:v>41824</c:v>
                </c:pt>
                <c:pt idx="324">
                  <c:v>41826</c:v>
                </c:pt>
                <c:pt idx="325">
                  <c:v>41827</c:v>
                </c:pt>
                <c:pt idx="326">
                  <c:v>41828</c:v>
                </c:pt>
                <c:pt idx="327">
                  <c:v>41829</c:v>
                </c:pt>
                <c:pt idx="328">
                  <c:v>41830</c:v>
                </c:pt>
                <c:pt idx="329">
                  <c:v>41831</c:v>
                </c:pt>
                <c:pt idx="330">
                  <c:v>41833</c:v>
                </c:pt>
                <c:pt idx="331">
                  <c:v>41834</c:v>
                </c:pt>
                <c:pt idx="332">
                  <c:v>41835</c:v>
                </c:pt>
                <c:pt idx="333">
                  <c:v>41836</c:v>
                </c:pt>
                <c:pt idx="334">
                  <c:v>41837</c:v>
                </c:pt>
                <c:pt idx="335">
                  <c:v>41838</c:v>
                </c:pt>
                <c:pt idx="336">
                  <c:v>41840</c:v>
                </c:pt>
                <c:pt idx="337">
                  <c:v>41841</c:v>
                </c:pt>
                <c:pt idx="338">
                  <c:v>41842</c:v>
                </c:pt>
                <c:pt idx="339">
                  <c:v>41843</c:v>
                </c:pt>
                <c:pt idx="340">
                  <c:v>41844</c:v>
                </c:pt>
                <c:pt idx="341">
                  <c:v>41845</c:v>
                </c:pt>
                <c:pt idx="342">
                  <c:v>41847</c:v>
                </c:pt>
                <c:pt idx="343">
                  <c:v>41848</c:v>
                </c:pt>
                <c:pt idx="344">
                  <c:v>41849</c:v>
                </c:pt>
                <c:pt idx="345">
                  <c:v>41850</c:v>
                </c:pt>
                <c:pt idx="346">
                  <c:v>41851</c:v>
                </c:pt>
                <c:pt idx="347">
                  <c:v>41852</c:v>
                </c:pt>
                <c:pt idx="348">
                  <c:v>41854</c:v>
                </c:pt>
                <c:pt idx="349">
                  <c:v>41855</c:v>
                </c:pt>
                <c:pt idx="350">
                  <c:v>41856</c:v>
                </c:pt>
                <c:pt idx="351">
                  <c:v>41857</c:v>
                </c:pt>
                <c:pt idx="352">
                  <c:v>41858</c:v>
                </c:pt>
                <c:pt idx="353">
                  <c:v>41859</c:v>
                </c:pt>
                <c:pt idx="354">
                  <c:v>41861</c:v>
                </c:pt>
                <c:pt idx="355">
                  <c:v>41862</c:v>
                </c:pt>
                <c:pt idx="356">
                  <c:v>41863</c:v>
                </c:pt>
                <c:pt idx="357">
                  <c:v>41864</c:v>
                </c:pt>
                <c:pt idx="358">
                  <c:v>41865</c:v>
                </c:pt>
                <c:pt idx="359">
                  <c:v>41866</c:v>
                </c:pt>
                <c:pt idx="360">
                  <c:v>41868</c:v>
                </c:pt>
                <c:pt idx="361">
                  <c:v>41869</c:v>
                </c:pt>
                <c:pt idx="362">
                  <c:v>41870</c:v>
                </c:pt>
                <c:pt idx="363">
                  <c:v>41871</c:v>
                </c:pt>
                <c:pt idx="364">
                  <c:v>41872</c:v>
                </c:pt>
                <c:pt idx="365">
                  <c:v>41873</c:v>
                </c:pt>
                <c:pt idx="366">
                  <c:v>41875</c:v>
                </c:pt>
                <c:pt idx="367">
                  <c:v>41876</c:v>
                </c:pt>
                <c:pt idx="368">
                  <c:v>41877</c:v>
                </c:pt>
                <c:pt idx="369">
                  <c:v>41878</c:v>
                </c:pt>
                <c:pt idx="370">
                  <c:v>41879</c:v>
                </c:pt>
                <c:pt idx="371">
                  <c:v>41880</c:v>
                </c:pt>
                <c:pt idx="372">
                  <c:v>41882</c:v>
                </c:pt>
                <c:pt idx="373">
                  <c:v>41883</c:v>
                </c:pt>
                <c:pt idx="374">
                  <c:v>41884</c:v>
                </c:pt>
                <c:pt idx="375">
                  <c:v>41885</c:v>
                </c:pt>
                <c:pt idx="376">
                  <c:v>41886</c:v>
                </c:pt>
                <c:pt idx="377">
                  <c:v>41887</c:v>
                </c:pt>
                <c:pt idx="378">
                  <c:v>41890</c:v>
                </c:pt>
                <c:pt idx="379">
                  <c:v>41891</c:v>
                </c:pt>
                <c:pt idx="380">
                  <c:v>41892</c:v>
                </c:pt>
                <c:pt idx="381">
                  <c:v>41893</c:v>
                </c:pt>
                <c:pt idx="382">
                  <c:v>41894</c:v>
                </c:pt>
                <c:pt idx="383">
                  <c:v>41896</c:v>
                </c:pt>
                <c:pt idx="384">
                  <c:v>41897</c:v>
                </c:pt>
                <c:pt idx="385">
                  <c:v>41898</c:v>
                </c:pt>
                <c:pt idx="386">
                  <c:v>41899</c:v>
                </c:pt>
                <c:pt idx="387">
                  <c:v>41900</c:v>
                </c:pt>
                <c:pt idx="388">
                  <c:v>41901</c:v>
                </c:pt>
                <c:pt idx="389">
                  <c:v>41903</c:v>
                </c:pt>
                <c:pt idx="390">
                  <c:v>41904</c:v>
                </c:pt>
                <c:pt idx="391">
                  <c:v>41905</c:v>
                </c:pt>
                <c:pt idx="392">
                  <c:v>41906</c:v>
                </c:pt>
                <c:pt idx="393">
                  <c:v>41907</c:v>
                </c:pt>
                <c:pt idx="394">
                  <c:v>41908</c:v>
                </c:pt>
                <c:pt idx="395">
                  <c:v>41910</c:v>
                </c:pt>
                <c:pt idx="396">
                  <c:v>41911</c:v>
                </c:pt>
                <c:pt idx="397">
                  <c:v>41912</c:v>
                </c:pt>
                <c:pt idx="398">
                  <c:v>41919</c:v>
                </c:pt>
                <c:pt idx="399">
                  <c:v>41920</c:v>
                </c:pt>
                <c:pt idx="400">
                  <c:v>41921</c:v>
                </c:pt>
                <c:pt idx="401">
                  <c:v>41922</c:v>
                </c:pt>
                <c:pt idx="402">
                  <c:v>41924</c:v>
                </c:pt>
                <c:pt idx="403">
                  <c:v>41925</c:v>
                </c:pt>
                <c:pt idx="404">
                  <c:v>41926</c:v>
                </c:pt>
                <c:pt idx="405">
                  <c:v>41927</c:v>
                </c:pt>
                <c:pt idx="406">
                  <c:v>41928</c:v>
                </c:pt>
                <c:pt idx="407">
                  <c:v>41929</c:v>
                </c:pt>
                <c:pt idx="408">
                  <c:v>41931</c:v>
                </c:pt>
                <c:pt idx="409">
                  <c:v>41932</c:v>
                </c:pt>
                <c:pt idx="410">
                  <c:v>41933</c:v>
                </c:pt>
                <c:pt idx="411">
                  <c:v>41934</c:v>
                </c:pt>
                <c:pt idx="412">
                  <c:v>41935</c:v>
                </c:pt>
                <c:pt idx="413">
                  <c:v>41936</c:v>
                </c:pt>
                <c:pt idx="414">
                  <c:v>41938</c:v>
                </c:pt>
                <c:pt idx="415">
                  <c:v>41939</c:v>
                </c:pt>
                <c:pt idx="416">
                  <c:v>41940</c:v>
                </c:pt>
                <c:pt idx="417">
                  <c:v>41941</c:v>
                </c:pt>
                <c:pt idx="418">
                  <c:v>41942</c:v>
                </c:pt>
                <c:pt idx="419">
                  <c:v>41943</c:v>
                </c:pt>
                <c:pt idx="420">
                  <c:v>41945</c:v>
                </c:pt>
                <c:pt idx="421">
                  <c:v>41946</c:v>
                </c:pt>
                <c:pt idx="422">
                  <c:v>41947</c:v>
                </c:pt>
                <c:pt idx="423">
                  <c:v>41948</c:v>
                </c:pt>
                <c:pt idx="424">
                  <c:v>41949</c:v>
                </c:pt>
                <c:pt idx="425">
                  <c:v>41950</c:v>
                </c:pt>
                <c:pt idx="426">
                  <c:v>41952</c:v>
                </c:pt>
                <c:pt idx="427">
                  <c:v>41953</c:v>
                </c:pt>
                <c:pt idx="428">
                  <c:v>41954</c:v>
                </c:pt>
                <c:pt idx="429">
                  <c:v>41955</c:v>
                </c:pt>
                <c:pt idx="430">
                  <c:v>41956</c:v>
                </c:pt>
                <c:pt idx="431">
                  <c:v>41957</c:v>
                </c:pt>
                <c:pt idx="432">
                  <c:v>41959</c:v>
                </c:pt>
                <c:pt idx="433">
                  <c:v>41960</c:v>
                </c:pt>
                <c:pt idx="434">
                  <c:v>41961</c:v>
                </c:pt>
                <c:pt idx="435">
                  <c:v>41962</c:v>
                </c:pt>
                <c:pt idx="436">
                  <c:v>41963</c:v>
                </c:pt>
                <c:pt idx="437">
                  <c:v>41964</c:v>
                </c:pt>
                <c:pt idx="438">
                  <c:v>41966</c:v>
                </c:pt>
                <c:pt idx="439">
                  <c:v>41967</c:v>
                </c:pt>
                <c:pt idx="440">
                  <c:v>41968</c:v>
                </c:pt>
                <c:pt idx="441">
                  <c:v>41969</c:v>
                </c:pt>
                <c:pt idx="442">
                  <c:v>41970</c:v>
                </c:pt>
                <c:pt idx="443">
                  <c:v>41971</c:v>
                </c:pt>
                <c:pt idx="444">
                  <c:v>41973</c:v>
                </c:pt>
                <c:pt idx="445">
                  <c:v>41974</c:v>
                </c:pt>
                <c:pt idx="446">
                  <c:v>41975</c:v>
                </c:pt>
                <c:pt idx="447">
                  <c:v>41976</c:v>
                </c:pt>
                <c:pt idx="448">
                  <c:v>41977</c:v>
                </c:pt>
                <c:pt idx="449">
                  <c:v>41978</c:v>
                </c:pt>
                <c:pt idx="450">
                  <c:v>41980</c:v>
                </c:pt>
                <c:pt idx="451">
                  <c:v>41981</c:v>
                </c:pt>
                <c:pt idx="452">
                  <c:v>41982</c:v>
                </c:pt>
                <c:pt idx="453">
                  <c:v>41983</c:v>
                </c:pt>
                <c:pt idx="454">
                  <c:v>41984</c:v>
                </c:pt>
                <c:pt idx="455">
                  <c:v>41985</c:v>
                </c:pt>
                <c:pt idx="456">
                  <c:v>41987</c:v>
                </c:pt>
                <c:pt idx="457">
                  <c:v>41988</c:v>
                </c:pt>
                <c:pt idx="458">
                  <c:v>41989</c:v>
                </c:pt>
                <c:pt idx="459">
                  <c:v>41990</c:v>
                </c:pt>
                <c:pt idx="460">
                  <c:v>41991</c:v>
                </c:pt>
                <c:pt idx="461">
                  <c:v>41992</c:v>
                </c:pt>
                <c:pt idx="462">
                  <c:v>41994</c:v>
                </c:pt>
                <c:pt idx="463">
                  <c:v>41995</c:v>
                </c:pt>
                <c:pt idx="464">
                  <c:v>41996</c:v>
                </c:pt>
                <c:pt idx="465">
                  <c:v>41997</c:v>
                </c:pt>
                <c:pt idx="466">
                  <c:v>41998</c:v>
                </c:pt>
                <c:pt idx="467">
                  <c:v>41999</c:v>
                </c:pt>
                <c:pt idx="468">
                  <c:v>42001</c:v>
                </c:pt>
                <c:pt idx="469">
                  <c:v>42002</c:v>
                </c:pt>
                <c:pt idx="470">
                  <c:v>42003</c:v>
                </c:pt>
                <c:pt idx="471">
                  <c:v>42004</c:v>
                </c:pt>
                <c:pt idx="472">
                  <c:v>42008</c:v>
                </c:pt>
                <c:pt idx="473">
                  <c:v>42009</c:v>
                </c:pt>
                <c:pt idx="474">
                  <c:v>42010</c:v>
                </c:pt>
                <c:pt idx="475">
                  <c:v>42011</c:v>
                </c:pt>
                <c:pt idx="476">
                  <c:v>42012</c:v>
                </c:pt>
                <c:pt idx="477">
                  <c:v>42013</c:v>
                </c:pt>
                <c:pt idx="478">
                  <c:v>42015</c:v>
                </c:pt>
                <c:pt idx="479">
                  <c:v>42016</c:v>
                </c:pt>
                <c:pt idx="480">
                  <c:v>42017</c:v>
                </c:pt>
                <c:pt idx="481">
                  <c:v>42018</c:v>
                </c:pt>
                <c:pt idx="482">
                  <c:v>42019</c:v>
                </c:pt>
                <c:pt idx="483">
                  <c:v>42020</c:v>
                </c:pt>
                <c:pt idx="484">
                  <c:v>42022</c:v>
                </c:pt>
                <c:pt idx="485">
                  <c:v>42023</c:v>
                </c:pt>
                <c:pt idx="486">
                  <c:v>42024</c:v>
                </c:pt>
                <c:pt idx="487">
                  <c:v>42025</c:v>
                </c:pt>
                <c:pt idx="488">
                  <c:v>42026</c:v>
                </c:pt>
                <c:pt idx="489">
                  <c:v>42027</c:v>
                </c:pt>
                <c:pt idx="490">
                  <c:v>42029</c:v>
                </c:pt>
                <c:pt idx="491">
                  <c:v>42030</c:v>
                </c:pt>
                <c:pt idx="492">
                  <c:v>42031</c:v>
                </c:pt>
                <c:pt idx="493">
                  <c:v>42032</c:v>
                </c:pt>
                <c:pt idx="494">
                  <c:v>42033</c:v>
                </c:pt>
                <c:pt idx="495">
                  <c:v>42034</c:v>
                </c:pt>
                <c:pt idx="496">
                  <c:v>42036</c:v>
                </c:pt>
                <c:pt idx="497">
                  <c:v>42037</c:v>
                </c:pt>
                <c:pt idx="498">
                  <c:v>42038</c:v>
                </c:pt>
                <c:pt idx="499">
                  <c:v>42039</c:v>
                </c:pt>
                <c:pt idx="500">
                  <c:v>42040</c:v>
                </c:pt>
                <c:pt idx="501">
                  <c:v>42041</c:v>
                </c:pt>
                <c:pt idx="502">
                  <c:v>42043</c:v>
                </c:pt>
                <c:pt idx="503">
                  <c:v>42044</c:v>
                </c:pt>
                <c:pt idx="504">
                  <c:v>42045</c:v>
                </c:pt>
                <c:pt idx="505">
                  <c:v>42046</c:v>
                </c:pt>
                <c:pt idx="506">
                  <c:v>42047</c:v>
                </c:pt>
                <c:pt idx="507">
                  <c:v>42048</c:v>
                </c:pt>
                <c:pt idx="508">
                  <c:v>42050</c:v>
                </c:pt>
                <c:pt idx="509">
                  <c:v>42051</c:v>
                </c:pt>
                <c:pt idx="510">
                  <c:v>42052</c:v>
                </c:pt>
                <c:pt idx="511">
                  <c:v>42059</c:v>
                </c:pt>
                <c:pt idx="512">
                  <c:v>42060</c:v>
                </c:pt>
                <c:pt idx="513">
                  <c:v>42061</c:v>
                </c:pt>
                <c:pt idx="514">
                  <c:v>42062</c:v>
                </c:pt>
                <c:pt idx="515">
                  <c:v>42064</c:v>
                </c:pt>
                <c:pt idx="516">
                  <c:v>42065</c:v>
                </c:pt>
                <c:pt idx="517">
                  <c:v>42066</c:v>
                </c:pt>
                <c:pt idx="518">
                  <c:v>42067</c:v>
                </c:pt>
                <c:pt idx="519">
                  <c:v>42068</c:v>
                </c:pt>
                <c:pt idx="520">
                  <c:v>42069</c:v>
                </c:pt>
                <c:pt idx="521">
                  <c:v>42071</c:v>
                </c:pt>
                <c:pt idx="522">
                  <c:v>42072</c:v>
                </c:pt>
                <c:pt idx="523">
                  <c:v>42073</c:v>
                </c:pt>
                <c:pt idx="524">
                  <c:v>42074</c:v>
                </c:pt>
                <c:pt idx="525">
                  <c:v>42075</c:v>
                </c:pt>
                <c:pt idx="526">
                  <c:v>42076</c:v>
                </c:pt>
                <c:pt idx="527">
                  <c:v>42078</c:v>
                </c:pt>
                <c:pt idx="528">
                  <c:v>42079</c:v>
                </c:pt>
                <c:pt idx="529">
                  <c:v>42080</c:v>
                </c:pt>
                <c:pt idx="530">
                  <c:v>42081</c:v>
                </c:pt>
                <c:pt idx="531">
                  <c:v>42082</c:v>
                </c:pt>
                <c:pt idx="532">
                  <c:v>42083</c:v>
                </c:pt>
                <c:pt idx="533">
                  <c:v>42085</c:v>
                </c:pt>
                <c:pt idx="534">
                  <c:v>42086</c:v>
                </c:pt>
                <c:pt idx="535">
                  <c:v>42087</c:v>
                </c:pt>
                <c:pt idx="536">
                  <c:v>42088</c:v>
                </c:pt>
                <c:pt idx="537">
                  <c:v>42089</c:v>
                </c:pt>
                <c:pt idx="538">
                  <c:v>42090</c:v>
                </c:pt>
                <c:pt idx="539">
                  <c:v>42092</c:v>
                </c:pt>
                <c:pt idx="540">
                  <c:v>42093</c:v>
                </c:pt>
                <c:pt idx="541">
                  <c:v>42094</c:v>
                </c:pt>
                <c:pt idx="542">
                  <c:v>42095</c:v>
                </c:pt>
                <c:pt idx="543">
                  <c:v>42096</c:v>
                </c:pt>
                <c:pt idx="544">
                  <c:v>42097</c:v>
                </c:pt>
                <c:pt idx="545">
                  <c:v>42100</c:v>
                </c:pt>
                <c:pt idx="546">
                  <c:v>42101</c:v>
                </c:pt>
                <c:pt idx="547">
                  <c:v>42102</c:v>
                </c:pt>
                <c:pt idx="548">
                  <c:v>42103</c:v>
                </c:pt>
                <c:pt idx="549">
                  <c:v>42104</c:v>
                </c:pt>
                <c:pt idx="550">
                  <c:v>42106</c:v>
                </c:pt>
                <c:pt idx="551">
                  <c:v>42107</c:v>
                </c:pt>
                <c:pt idx="552">
                  <c:v>42108</c:v>
                </c:pt>
                <c:pt idx="553">
                  <c:v>42109</c:v>
                </c:pt>
                <c:pt idx="554">
                  <c:v>42110</c:v>
                </c:pt>
                <c:pt idx="555">
                  <c:v>42111</c:v>
                </c:pt>
                <c:pt idx="556">
                  <c:v>42113</c:v>
                </c:pt>
                <c:pt idx="557">
                  <c:v>42114</c:v>
                </c:pt>
                <c:pt idx="558">
                  <c:v>42115</c:v>
                </c:pt>
                <c:pt idx="559">
                  <c:v>42116</c:v>
                </c:pt>
                <c:pt idx="560">
                  <c:v>42117</c:v>
                </c:pt>
                <c:pt idx="561">
                  <c:v>42118</c:v>
                </c:pt>
                <c:pt idx="562">
                  <c:v>42120</c:v>
                </c:pt>
                <c:pt idx="563">
                  <c:v>42121</c:v>
                </c:pt>
                <c:pt idx="564">
                  <c:v>42122</c:v>
                </c:pt>
                <c:pt idx="565">
                  <c:v>42123</c:v>
                </c:pt>
                <c:pt idx="566">
                  <c:v>42124</c:v>
                </c:pt>
                <c:pt idx="567">
                  <c:v>42127</c:v>
                </c:pt>
                <c:pt idx="568">
                  <c:v>42128</c:v>
                </c:pt>
                <c:pt idx="569">
                  <c:v>42129</c:v>
                </c:pt>
                <c:pt idx="570">
                  <c:v>42130</c:v>
                </c:pt>
                <c:pt idx="571">
                  <c:v>42131</c:v>
                </c:pt>
                <c:pt idx="572">
                  <c:v>42132</c:v>
                </c:pt>
                <c:pt idx="573">
                  <c:v>42134</c:v>
                </c:pt>
                <c:pt idx="574">
                  <c:v>42135</c:v>
                </c:pt>
                <c:pt idx="575">
                  <c:v>42136</c:v>
                </c:pt>
                <c:pt idx="576">
                  <c:v>42137</c:v>
                </c:pt>
                <c:pt idx="577">
                  <c:v>42138</c:v>
                </c:pt>
                <c:pt idx="578">
                  <c:v>42139</c:v>
                </c:pt>
                <c:pt idx="579">
                  <c:v>42141</c:v>
                </c:pt>
                <c:pt idx="580">
                  <c:v>42142</c:v>
                </c:pt>
                <c:pt idx="581">
                  <c:v>42143</c:v>
                </c:pt>
                <c:pt idx="582">
                  <c:v>42144</c:v>
                </c:pt>
                <c:pt idx="583">
                  <c:v>42145</c:v>
                </c:pt>
                <c:pt idx="584">
                  <c:v>42146</c:v>
                </c:pt>
                <c:pt idx="585">
                  <c:v>42148</c:v>
                </c:pt>
                <c:pt idx="586">
                  <c:v>42149</c:v>
                </c:pt>
                <c:pt idx="587">
                  <c:v>42150</c:v>
                </c:pt>
                <c:pt idx="588">
                  <c:v>42151</c:v>
                </c:pt>
                <c:pt idx="589">
                  <c:v>42152</c:v>
                </c:pt>
                <c:pt idx="590">
                  <c:v>42153</c:v>
                </c:pt>
                <c:pt idx="591">
                  <c:v>42155</c:v>
                </c:pt>
                <c:pt idx="592">
                  <c:v>42156</c:v>
                </c:pt>
                <c:pt idx="593">
                  <c:v>42157</c:v>
                </c:pt>
                <c:pt idx="594">
                  <c:v>42158</c:v>
                </c:pt>
                <c:pt idx="595">
                  <c:v>42159</c:v>
                </c:pt>
                <c:pt idx="596">
                  <c:v>42160</c:v>
                </c:pt>
                <c:pt idx="597">
                  <c:v>42162</c:v>
                </c:pt>
                <c:pt idx="598">
                  <c:v>42163</c:v>
                </c:pt>
                <c:pt idx="599">
                  <c:v>42164</c:v>
                </c:pt>
                <c:pt idx="600">
                  <c:v>42165</c:v>
                </c:pt>
                <c:pt idx="601">
                  <c:v>42166</c:v>
                </c:pt>
                <c:pt idx="602">
                  <c:v>42167</c:v>
                </c:pt>
                <c:pt idx="603">
                  <c:v>42169</c:v>
                </c:pt>
                <c:pt idx="604">
                  <c:v>42170</c:v>
                </c:pt>
                <c:pt idx="605">
                  <c:v>42171</c:v>
                </c:pt>
                <c:pt idx="606">
                  <c:v>42172</c:v>
                </c:pt>
                <c:pt idx="607">
                  <c:v>42173</c:v>
                </c:pt>
                <c:pt idx="608">
                  <c:v>42174</c:v>
                </c:pt>
                <c:pt idx="609">
                  <c:v>42177</c:v>
                </c:pt>
                <c:pt idx="610">
                  <c:v>42178</c:v>
                </c:pt>
                <c:pt idx="611">
                  <c:v>42179</c:v>
                </c:pt>
                <c:pt idx="612">
                  <c:v>42180</c:v>
                </c:pt>
                <c:pt idx="613">
                  <c:v>42181</c:v>
                </c:pt>
                <c:pt idx="614">
                  <c:v>42183</c:v>
                </c:pt>
                <c:pt idx="615">
                  <c:v>42184</c:v>
                </c:pt>
                <c:pt idx="616">
                  <c:v>42185</c:v>
                </c:pt>
                <c:pt idx="617">
                  <c:v>42186</c:v>
                </c:pt>
                <c:pt idx="618">
                  <c:v>42187</c:v>
                </c:pt>
                <c:pt idx="619">
                  <c:v>42188</c:v>
                </c:pt>
                <c:pt idx="620">
                  <c:v>42190</c:v>
                </c:pt>
                <c:pt idx="621">
                  <c:v>42191</c:v>
                </c:pt>
                <c:pt idx="622">
                  <c:v>42192</c:v>
                </c:pt>
                <c:pt idx="623">
                  <c:v>42193</c:v>
                </c:pt>
                <c:pt idx="624">
                  <c:v>42194</c:v>
                </c:pt>
                <c:pt idx="625">
                  <c:v>42195</c:v>
                </c:pt>
                <c:pt idx="626">
                  <c:v>42197</c:v>
                </c:pt>
                <c:pt idx="627">
                  <c:v>42198</c:v>
                </c:pt>
                <c:pt idx="628">
                  <c:v>42199</c:v>
                </c:pt>
                <c:pt idx="629">
                  <c:v>42200</c:v>
                </c:pt>
                <c:pt idx="630">
                  <c:v>42201</c:v>
                </c:pt>
                <c:pt idx="631">
                  <c:v>42202</c:v>
                </c:pt>
                <c:pt idx="632">
                  <c:v>42204</c:v>
                </c:pt>
                <c:pt idx="633">
                  <c:v>42205</c:v>
                </c:pt>
                <c:pt idx="634">
                  <c:v>42206</c:v>
                </c:pt>
                <c:pt idx="635">
                  <c:v>42207</c:v>
                </c:pt>
                <c:pt idx="636">
                  <c:v>42208</c:v>
                </c:pt>
                <c:pt idx="637">
                  <c:v>42209</c:v>
                </c:pt>
                <c:pt idx="638">
                  <c:v>42211</c:v>
                </c:pt>
                <c:pt idx="639">
                  <c:v>42212</c:v>
                </c:pt>
                <c:pt idx="640">
                  <c:v>42213</c:v>
                </c:pt>
                <c:pt idx="641">
                  <c:v>42214</c:v>
                </c:pt>
                <c:pt idx="642">
                  <c:v>42215</c:v>
                </c:pt>
                <c:pt idx="643">
                  <c:v>42216</c:v>
                </c:pt>
                <c:pt idx="644">
                  <c:v>42218</c:v>
                </c:pt>
                <c:pt idx="645">
                  <c:v>42219</c:v>
                </c:pt>
                <c:pt idx="646">
                  <c:v>42220</c:v>
                </c:pt>
                <c:pt idx="647">
                  <c:v>42221</c:v>
                </c:pt>
                <c:pt idx="648">
                  <c:v>42222</c:v>
                </c:pt>
                <c:pt idx="649">
                  <c:v>42223</c:v>
                </c:pt>
                <c:pt idx="650">
                  <c:v>42225</c:v>
                </c:pt>
                <c:pt idx="651">
                  <c:v>42226</c:v>
                </c:pt>
                <c:pt idx="652">
                  <c:v>42227</c:v>
                </c:pt>
                <c:pt idx="653">
                  <c:v>42228</c:v>
                </c:pt>
                <c:pt idx="654">
                  <c:v>42229</c:v>
                </c:pt>
                <c:pt idx="655">
                  <c:v>42230</c:v>
                </c:pt>
                <c:pt idx="656">
                  <c:v>42232</c:v>
                </c:pt>
                <c:pt idx="657">
                  <c:v>42233</c:v>
                </c:pt>
                <c:pt idx="658">
                  <c:v>42234</c:v>
                </c:pt>
                <c:pt idx="659">
                  <c:v>42235</c:v>
                </c:pt>
                <c:pt idx="660">
                  <c:v>42236</c:v>
                </c:pt>
                <c:pt idx="661">
                  <c:v>42237</c:v>
                </c:pt>
                <c:pt idx="662">
                  <c:v>42239</c:v>
                </c:pt>
                <c:pt idx="663">
                  <c:v>42240</c:v>
                </c:pt>
                <c:pt idx="664">
                  <c:v>42241</c:v>
                </c:pt>
                <c:pt idx="665">
                  <c:v>42242</c:v>
                </c:pt>
                <c:pt idx="666">
                  <c:v>42243</c:v>
                </c:pt>
                <c:pt idx="667">
                  <c:v>42244</c:v>
                </c:pt>
                <c:pt idx="668">
                  <c:v>42246</c:v>
                </c:pt>
                <c:pt idx="669">
                  <c:v>42247</c:v>
                </c:pt>
                <c:pt idx="670">
                  <c:v>42248</c:v>
                </c:pt>
                <c:pt idx="671">
                  <c:v>42249</c:v>
                </c:pt>
                <c:pt idx="672">
                  <c:v>42253</c:v>
                </c:pt>
                <c:pt idx="673">
                  <c:v>42254</c:v>
                </c:pt>
                <c:pt idx="674">
                  <c:v>42255</c:v>
                </c:pt>
                <c:pt idx="675">
                  <c:v>42256</c:v>
                </c:pt>
                <c:pt idx="676">
                  <c:v>42257</c:v>
                </c:pt>
                <c:pt idx="677">
                  <c:v>42258</c:v>
                </c:pt>
                <c:pt idx="678">
                  <c:v>42260</c:v>
                </c:pt>
                <c:pt idx="679">
                  <c:v>42261</c:v>
                </c:pt>
                <c:pt idx="680">
                  <c:v>42262</c:v>
                </c:pt>
                <c:pt idx="681">
                  <c:v>42263</c:v>
                </c:pt>
                <c:pt idx="682">
                  <c:v>42264</c:v>
                </c:pt>
                <c:pt idx="683">
                  <c:v>42265</c:v>
                </c:pt>
                <c:pt idx="684">
                  <c:v>42267</c:v>
                </c:pt>
                <c:pt idx="685">
                  <c:v>42268</c:v>
                </c:pt>
                <c:pt idx="686">
                  <c:v>42269</c:v>
                </c:pt>
                <c:pt idx="687">
                  <c:v>42270</c:v>
                </c:pt>
                <c:pt idx="688">
                  <c:v>42271</c:v>
                </c:pt>
                <c:pt idx="689">
                  <c:v>42272</c:v>
                </c:pt>
                <c:pt idx="690">
                  <c:v>42274</c:v>
                </c:pt>
                <c:pt idx="691">
                  <c:v>42275</c:v>
                </c:pt>
                <c:pt idx="692">
                  <c:v>42276</c:v>
                </c:pt>
                <c:pt idx="693">
                  <c:v>42277</c:v>
                </c:pt>
                <c:pt idx="694">
                  <c:v>42284</c:v>
                </c:pt>
                <c:pt idx="695">
                  <c:v>42285</c:v>
                </c:pt>
                <c:pt idx="696">
                  <c:v>42286</c:v>
                </c:pt>
                <c:pt idx="697">
                  <c:v>42288</c:v>
                </c:pt>
                <c:pt idx="698">
                  <c:v>42289</c:v>
                </c:pt>
                <c:pt idx="699">
                  <c:v>42290</c:v>
                </c:pt>
                <c:pt idx="700">
                  <c:v>42291</c:v>
                </c:pt>
                <c:pt idx="701">
                  <c:v>42292</c:v>
                </c:pt>
                <c:pt idx="702">
                  <c:v>42293</c:v>
                </c:pt>
                <c:pt idx="703">
                  <c:v>42295</c:v>
                </c:pt>
                <c:pt idx="704">
                  <c:v>42296</c:v>
                </c:pt>
                <c:pt idx="705">
                  <c:v>42297</c:v>
                </c:pt>
                <c:pt idx="706">
                  <c:v>42298</c:v>
                </c:pt>
                <c:pt idx="707">
                  <c:v>42299</c:v>
                </c:pt>
                <c:pt idx="708">
                  <c:v>42300</c:v>
                </c:pt>
                <c:pt idx="709">
                  <c:v>42302</c:v>
                </c:pt>
                <c:pt idx="710">
                  <c:v>42303</c:v>
                </c:pt>
                <c:pt idx="711">
                  <c:v>42304</c:v>
                </c:pt>
                <c:pt idx="712">
                  <c:v>42305</c:v>
                </c:pt>
                <c:pt idx="713">
                  <c:v>42306</c:v>
                </c:pt>
                <c:pt idx="714">
                  <c:v>42307</c:v>
                </c:pt>
                <c:pt idx="715">
                  <c:v>42309</c:v>
                </c:pt>
                <c:pt idx="716">
                  <c:v>42310</c:v>
                </c:pt>
                <c:pt idx="717">
                  <c:v>42311</c:v>
                </c:pt>
                <c:pt idx="718">
                  <c:v>42312</c:v>
                </c:pt>
                <c:pt idx="719">
                  <c:v>42313</c:v>
                </c:pt>
                <c:pt idx="720">
                  <c:v>42314</c:v>
                </c:pt>
                <c:pt idx="721">
                  <c:v>42316</c:v>
                </c:pt>
                <c:pt idx="722">
                  <c:v>42317</c:v>
                </c:pt>
                <c:pt idx="723">
                  <c:v>42318</c:v>
                </c:pt>
                <c:pt idx="724">
                  <c:v>42319</c:v>
                </c:pt>
                <c:pt idx="725">
                  <c:v>42320</c:v>
                </c:pt>
                <c:pt idx="726">
                  <c:v>42321</c:v>
                </c:pt>
                <c:pt idx="727">
                  <c:v>42323</c:v>
                </c:pt>
                <c:pt idx="728">
                  <c:v>42324</c:v>
                </c:pt>
                <c:pt idx="729">
                  <c:v>42325</c:v>
                </c:pt>
                <c:pt idx="730">
                  <c:v>42326</c:v>
                </c:pt>
                <c:pt idx="731">
                  <c:v>42327</c:v>
                </c:pt>
                <c:pt idx="732">
                  <c:v>42328</c:v>
                </c:pt>
                <c:pt idx="733">
                  <c:v>42330</c:v>
                </c:pt>
                <c:pt idx="734">
                  <c:v>42331</c:v>
                </c:pt>
                <c:pt idx="735">
                  <c:v>42332</c:v>
                </c:pt>
                <c:pt idx="736">
                  <c:v>42333</c:v>
                </c:pt>
                <c:pt idx="737">
                  <c:v>42334</c:v>
                </c:pt>
                <c:pt idx="738">
                  <c:v>42335</c:v>
                </c:pt>
                <c:pt idx="739">
                  <c:v>42337</c:v>
                </c:pt>
                <c:pt idx="740">
                  <c:v>42338</c:v>
                </c:pt>
                <c:pt idx="741">
                  <c:v>42339</c:v>
                </c:pt>
                <c:pt idx="742">
                  <c:v>42340</c:v>
                </c:pt>
                <c:pt idx="743">
                  <c:v>42341</c:v>
                </c:pt>
                <c:pt idx="744">
                  <c:v>42342</c:v>
                </c:pt>
                <c:pt idx="745">
                  <c:v>42344</c:v>
                </c:pt>
                <c:pt idx="746">
                  <c:v>42345</c:v>
                </c:pt>
                <c:pt idx="747">
                  <c:v>42346</c:v>
                </c:pt>
                <c:pt idx="748">
                  <c:v>42347</c:v>
                </c:pt>
                <c:pt idx="749">
                  <c:v>42348</c:v>
                </c:pt>
                <c:pt idx="750">
                  <c:v>42349</c:v>
                </c:pt>
                <c:pt idx="751">
                  <c:v>42351</c:v>
                </c:pt>
                <c:pt idx="752">
                  <c:v>42352</c:v>
                </c:pt>
                <c:pt idx="753">
                  <c:v>42353</c:v>
                </c:pt>
                <c:pt idx="754">
                  <c:v>42354</c:v>
                </c:pt>
                <c:pt idx="755">
                  <c:v>42355</c:v>
                </c:pt>
                <c:pt idx="756">
                  <c:v>42356</c:v>
                </c:pt>
                <c:pt idx="757">
                  <c:v>42358</c:v>
                </c:pt>
                <c:pt idx="758">
                  <c:v>42359</c:v>
                </c:pt>
                <c:pt idx="759">
                  <c:v>42360</c:v>
                </c:pt>
                <c:pt idx="760">
                  <c:v>42361</c:v>
                </c:pt>
                <c:pt idx="761">
                  <c:v>42362</c:v>
                </c:pt>
                <c:pt idx="762">
                  <c:v>42363</c:v>
                </c:pt>
                <c:pt idx="763">
                  <c:v>42365</c:v>
                </c:pt>
                <c:pt idx="764">
                  <c:v>42366</c:v>
                </c:pt>
                <c:pt idx="765">
                  <c:v>42367</c:v>
                </c:pt>
                <c:pt idx="766">
                  <c:v>42368</c:v>
                </c:pt>
                <c:pt idx="767">
                  <c:v>42369</c:v>
                </c:pt>
                <c:pt idx="768">
                  <c:v>42372</c:v>
                </c:pt>
                <c:pt idx="769">
                  <c:v>42373</c:v>
                </c:pt>
                <c:pt idx="770">
                  <c:v>42374</c:v>
                </c:pt>
                <c:pt idx="771">
                  <c:v>42375</c:v>
                </c:pt>
                <c:pt idx="772">
                  <c:v>42376</c:v>
                </c:pt>
                <c:pt idx="773">
                  <c:v>42377</c:v>
                </c:pt>
                <c:pt idx="774">
                  <c:v>42379</c:v>
                </c:pt>
                <c:pt idx="775">
                  <c:v>42380</c:v>
                </c:pt>
                <c:pt idx="776">
                  <c:v>42381</c:v>
                </c:pt>
                <c:pt idx="777">
                  <c:v>42382</c:v>
                </c:pt>
                <c:pt idx="778">
                  <c:v>42383</c:v>
                </c:pt>
                <c:pt idx="779">
                  <c:v>42384</c:v>
                </c:pt>
                <c:pt idx="780">
                  <c:v>42386</c:v>
                </c:pt>
                <c:pt idx="781">
                  <c:v>42387</c:v>
                </c:pt>
                <c:pt idx="782">
                  <c:v>42388</c:v>
                </c:pt>
                <c:pt idx="783">
                  <c:v>42389</c:v>
                </c:pt>
                <c:pt idx="784">
                  <c:v>42390</c:v>
                </c:pt>
                <c:pt idx="785">
                  <c:v>42391</c:v>
                </c:pt>
                <c:pt idx="786">
                  <c:v>42393</c:v>
                </c:pt>
                <c:pt idx="787">
                  <c:v>42394</c:v>
                </c:pt>
                <c:pt idx="788">
                  <c:v>42395</c:v>
                </c:pt>
                <c:pt idx="789">
                  <c:v>42396</c:v>
                </c:pt>
                <c:pt idx="790">
                  <c:v>42397</c:v>
                </c:pt>
                <c:pt idx="791">
                  <c:v>42398</c:v>
                </c:pt>
                <c:pt idx="792">
                  <c:v>42400</c:v>
                </c:pt>
                <c:pt idx="793">
                  <c:v>42401</c:v>
                </c:pt>
                <c:pt idx="794">
                  <c:v>42402</c:v>
                </c:pt>
                <c:pt idx="795">
                  <c:v>42403</c:v>
                </c:pt>
                <c:pt idx="796">
                  <c:v>42404</c:v>
                </c:pt>
                <c:pt idx="797">
                  <c:v>42405</c:v>
                </c:pt>
                <c:pt idx="798">
                  <c:v>42414</c:v>
                </c:pt>
                <c:pt idx="799">
                  <c:v>42415</c:v>
                </c:pt>
                <c:pt idx="800">
                  <c:v>42416</c:v>
                </c:pt>
                <c:pt idx="801">
                  <c:v>42417</c:v>
                </c:pt>
                <c:pt idx="802">
                  <c:v>42418</c:v>
                </c:pt>
                <c:pt idx="803">
                  <c:v>42419</c:v>
                </c:pt>
                <c:pt idx="804">
                  <c:v>42421</c:v>
                </c:pt>
                <c:pt idx="805">
                  <c:v>42422</c:v>
                </c:pt>
                <c:pt idx="806">
                  <c:v>42423</c:v>
                </c:pt>
                <c:pt idx="807">
                  <c:v>42424</c:v>
                </c:pt>
                <c:pt idx="808">
                  <c:v>42425</c:v>
                </c:pt>
                <c:pt idx="809">
                  <c:v>42426</c:v>
                </c:pt>
                <c:pt idx="810">
                  <c:v>42428</c:v>
                </c:pt>
                <c:pt idx="811">
                  <c:v>42429</c:v>
                </c:pt>
                <c:pt idx="812">
                  <c:v>42430</c:v>
                </c:pt>
                <c:pt idx="813">
                  <c:v>42431</c:v>
                </c:pt>
                <c:pt idx="814">
                  <c:v>42432</c:v>
                </c:pt>
                <c:pt idx="815">
                  <c:v>42433</c:v>
                </c:pt>
                <c:pt idx="816">
                  <c:v>42435</c:v>
                </c:pt>
                <c:pt idx="817">
                  <c:v>42436</c:v>
                </c:pt>
                <c:pt idx="818">
                  <c:v>42437</c:v>
                </c:pt>
                <c:pt idx="819">
                  <c:v>42438</c:v>
                </c:pt>
                <c:pt idx="820">
                  <c:v>42439</c:v>
                </c:pt>
                <c:pt idx="821">
                  <c:v>42440</c:v>
                </c:pt>
                <c:pt idx="822">
                  <c:v>42442</c:v>
                </c:pt>
                <c:pt idx="823">
                  <c:v>42443</c:v>
                </c:pt>
                <c:pt idx="824">
                  <c:v>42444</c:v>
                </c:pt>
                <c:pt idx="825">
                  <c:v>42445</c:v>
                </c:pt>
                <c:pt idx="826">
                  <c:v>42446</c:v>
                </c:pt>
                <c:pt idx="827">
                  <c:v>42447</c:v>
                </c:pt>
                <c:pt idx="828">
                  <c:v>42449</c:v>
                </c:pt>
                <c:pt idx="829">
                  <c:v>42450</c:v>
                </c:pt>
                <c:pt idx="830">
                  <c:v>42451</c:v>
                </c:pt>
                <c:pt idx="831">
                  <c:v>42452</c:v>
                </c:pt>
                <c:pt idx="832">
                  <c:v>42453</c:v>
                </c:pt>
                <c:pt idx="833">
                  <c:v>42454</c:v>
                </c:pt>
                <c:pt idx="834">
                  <c:v>42456</c:v>
                </c:pt>
                <c:pt idx="835">
                  <c:v>42457</c:v>
                </c:pt>
                <c:pt idx="836">
                  <c:v>42458</c:v>
                </c:pt>
                <c:pt idx="837">
                  <c:v>42459</c:v>
                </c:pt>
                <c:pt idx="838">
                  <c:v>42460</c:v>
                </c:pt>
                <c:pt idx="839">
                  <c:v>42461</c:v>
                </c:pt>
                <c:pt idx="840">
                  <c:v>42464</c:v>
                </c:pt>
                <c:pt idx="841">
                  <c:v>42465</c:v>
                </c:pt>
                <c:pt idx="842">
                  <c:v>42466</c:v>
                </c:pt>
                <c:pt idx="843">
                  <c:v>42467</c:v>
                </c:pt>
                <c:pt idx="844">
                  <c:v>42468</c:v>
                </c:pt>
                <c:pt idx="845">
                  <c:v>42470</c:v>
                </c:pt>
                <c:pt idx="846">
                  <c:v>42471</c:v>
                </c:pt>
                <c:pt idx="847">
                  <c:v>42472</c:v>
                </c:pt>
                <c:pt idx="848">
                  <c:v>42473</c:v>
                </c:pt>
                <c:pt idx="849">
                  <c:v>42474</c:v>
                </c:pt>
                <c:pt idx="850">
                  <c:v>42475</c:v>
                </c:pt>
                <c:pt idx="851">
                  <c:v>42477</c:v>
                </c:pt>
                <c:pt idx="852">
                  <c:v>42478</c:v>
                </c:pt>
                <c:pt idx="853">
                  <c:v>42479</c:v>
                </c:pt>
                <c:pt idx="854">
                  <c:v>42480</c:v>
                </c:pt>
                <c:pt idx="855">
                  <c:v>42481</c:v>
                </c:pt>
                <c:pt idx="856">
                  <c:v>42482</c:v>
                </c:pt>
                <c:pt idx="857">
                  <c:v>42484</c:v>
                </c:pt>
                <c:pt idx="858">
                  <c:v>42485</c:v>
                </c:pt>
                <c:pt idx="859">
                  <c:v>42486</c:v>
                </c:pt>
                <c:pt idx="860">
                  <c:v>42487</c:v>
                </c:pt>
                <c:pt idx="861">
                  <c:v>42488</c:v>
                </c:pt>
                <c:pt idx="862">
                  <c:v>42489</c:v>
                </c:pt>
                <c:pt idx="863">
                  <c:v>42492</c:v>
                </c:pt>
                <c:pt idx="864">
                  <c:v>42493</c:v>
                </c:pt>
                <c:pt idx="865">
                  <c:v>42494</c:v>
                </c:pt>
                <c:pt idx="866">
                  <c:v>42495</c:v>
                </c:pt>
                <c:pt idx="867">
                  <c:v>42496</c:v>
                </c:pt>
                <c:pt idx="868">
                  <c:v>42498</c:v>
                </c:pt>
                <c:pt idx="869">
                  <c:v>42499</c:v>
                </c:pt>
                <c:pt idx="870">
                  <c:v>42500</c:v>
                </c:pt>
                <c:pt idx="871">
                  <c:v>42501</c:v>
                </c:pt>
                <c:pt idx="872">
                  <c:v>42502</c:v>
                </c:pt>
                <c:pt idx="873">
                  <c:v>42503</c:v>
                </c:pt>
                <c:pt idx="874">
                  <c:v>42505</c:v>
                </c:pt>
                <c:pt idx="875">
                  <c:v>42506</c:v>
                </c:pt>
                <c:pt idx="876">
                  <c:v>42507</c:v>
                </c:pt>
                <c:pt idx="877">
                  <c:v>42508</c:v>
                </c:pt>
                <c:pt idx="878">
                  <c:v>42509</c:v>
                </c:pt>
                <c:pt idx="879">
                  <c:v>42510</c:v>
                </c:pt>
                <c:pt idx="880">
                  <c:v>42512</c:v>
                </c:pt>
                <c:pt idx="881">
                  <c:v>42513</c:v>
                </c:pt>
                <c:pt idx="882">
                  <c:v>42514</c:v>
                </c:pt>
                <c:pt idx="883">
                  <c:v>42515</c:v>
                </c:pt>
                <c:pt idx="884">
                  <c:v>42516</c:v>
                </c:pt>
                <c:pt idx="885">
                  <c:v>42517</c:v>
                </c:pt>
                <c:pt idx="886">
                  <c:v>42519</c:v>
                </c:pt>
                <c:pt idx="887">
                  <c:v>42520</c:v>
                </c:pt>
                <c:pt idx="888">
                  <c:v>42521</c:v>
                </c:pt>
                <c:pt idx="889">
                  <c:v>42522</c:v>
                </c:pt>
                <c:pt idx="890">
                  <c:v>42523</c:v>
                </c:pt>
                <c:pt idx="891">
                  <c:v>42524</c:v>
                </c:pt>
                <c:pt idx="892">
                  <c:v>42526</c:v>
                </c:pt>
                <c:pt idx="893">
                  <c:v>42527</c:v>
                </c:pt>
                <c:pt idx="894">
                  <c:v>42528</c:v>
                </c:pt>
                <c:pt idx="895">
                  <c:v>42529</c:v>
                </c:pt>
                <c:pt idx="896">
                  <c:v>42533</c:v>
                </c:pt>
                <c:pt idx="897">
                  <c:v>42534</c:v>
                </c:pt>
                <c:pt idx="898">
                  <c:v>42535</c:v>
                </c:pt>
                <c:pt idx="899">
                  <c:v>42536</c:v>
                </c:pt>
                <c:pt idx="900">
                  <c:v>42537</c:v>
                </c:pt>
                <c:pt idx="901">
                  <c:v>42538</c:v>
                </c:pt>
                <c:pt idx="902">
                  <c:v>42540</c:v>
                </c:pt>
                <c:pt idx="903">
                  <c:v>42541</c:v>
                </c:pt>
                <c:pt idx="904">
                  <c:v>42542</c:v>
                </c:pt>
                <c:pt idx="905">
                  <c:v>42543</c:v>
                </c:pt>
                <c:pt idx="906">
                  <c:v>42544</c:v>
                </c:pt>
                <c:pt idx="907">
                  <c:v>42545</c:v>
                </c:pt>
                <c:pt idx="908">
                  <c:v>42547</c:v>
                </c:pt>
                <c:pt idx="909">
                  <c:v>42548</c:v>
                </c:pt>
                <c:pt idx="910">
                  <c:v>42549</c:v>
                </c:pt>
                <c:pt idx="911">
                  <c:v>42550</c:v>
                </c:pt>
                <c:pt idx="912">
                  <c:v>42551</c:v>
                </c:pt>
                <c:pt idx="913">
                  <c:v>42552</c:v>
                </c:pt>
                <c:pt idx="914">
                  <c:v>42554</c:v>
                </c:pt>
                <c:pt idx="915">
                  <c:v>42555</c:v>
                </c:pt>
                <c:pt idx="916">
                  <c:v>42556</c:v>
                </c:pt>
                <c:pt idx="917">
                  <c:v>42557</c:v>
                </c:pt>
                <c:pt idx="918">
                  <c:v>42558</c:v>
                </c:pt>
                <c:pt idx="919">
                  <c:v>42559</c:v>
                </c:pt>
                <c:pt idx="920">
                  <c:v>42561</c:v>
                </c:pt>
                <c:pt idx="921">
                  <c:v>42562</c:v>
                </c:pt>
                <c:pt idx="922">
                  <c:v>42563</c:v>
                </c:pt>
                <c:pt idx="923">
                  <c:v>42564</c:v>
                </c:pt>
                <c:pt idx="924">
                  <c:v>42565</c:v>
                </c:pt>
                <c:pt idx="925">
                  <c:v>42566</c:v>
                </c:pt>
                <c:pt idx="926">
                  <c:v>42568</c:v>
                </c:pt>
                <c:pt idx="927">
                  <c:v>42569</c:v>
                </c:pt>
                <c:pt idx="928">
                  <c:v>42570</c:v>
                </c:pt>
                <c:pt idx="929">
                  <c:v>42571</c:v>
                </c:pt>
                <c:pt idx="930">
                  <c:v>42572</c:v>
                </c:pt>
                <c:pt idx="931">
                  <c:v>42573</c:v>
                </c:pt>
                <c:pt idx="932">
                  <c:v>42575</c:v>
                </c:pt>
                <c:pt idx="933">
                  <c:v>42576</c:v>
                </c:pt>
                <c:pt idx="934">
                  <c:v>42577</c:v>
                </c:pt>
                <c:pt idx="935">
                  <c:v>42578</c:v>
                </c:pt>
                <c:pt idx="936">
                  <c:v>42579</c:v>
                </c:pt>
                <c:pt idx="937">
                  <c:v>42580</c:v>
                </c:pt>
                <c:pt idx="938">
                  <c:v>42582</c:v>
                </c:pt>
                <c:pt idx="939">
                  <c:v>42583</c:v>
                </c:pt>
                <c:pt idx="940">
                  <c:v>42584</c:v>
                </c:pt>
                <c:pt idx="941">
                  <c:v>42585</c:v>
                </c:pt>
                <c:pt idx="942">
                  <c:v>42586</c:v>
                </c:pt>
                <c:pt idx="943">
                  <c:v>42587</c:v>
                </c:pt>
                <c:pt idx="944">
                  <c:v>42589</c:v>
                </c:pt>
                <c:pt idx="945">
                  <c:v>42590</c:v>
                </c:pt>
                <c:pt idx="946">
                  <c:v>42591</c:v>
                </c:pt>
                <c:pt idx="947">
                  <c:v>42592</c:v>
                </c:pt>
                <c:pt idx="948">
                  <c:v>42593</c:v>
                </c:pt>
                <c:pt idx="949">
                  <c:v>42594</c:v>
                </c:pt>
                <c:pt idx="950">
                  <c:v>42596</c:v>
                </c:pt>
                <c:pt idx="951">
                  <c:v>42597</c:v>
                </c:pt>
                <c:pt idx="952">
                  <c:v>42598</c:v>
                </c:pt>
                <c:pt idx="953">
                  <c:v>42599</c:v>
                </c:pt>
                <c:pt idx="954">
                  <c:v>42600</c:v>
                </c:pt>
                <c:pt idx="955">
                  <c:v>42601</c:v>
                </c:pt>
                <c:pt idx="956">
                  <c:v>42603</c:v>
                </c:pt>
                <c:pt idx="957">
                  <c:v>42604</c:v>
                </c:pt>
                <c:pt idx="958">
                  <c:v>42605</c:v>
                </c:pt>
                <c:pt idx="959">
                  <c:v>42606</c:v>
                </c:pt>
                <c:pt idx="960">
                  <c:v>42607</c:v>
                </c:pt>
                <c:pt idx="961">
                  <c:v>42608</c:v>
                </c:pt>
                <c:pt idx="962">
                  <c:v>42610</c:v>
                </c:pt>
                <c:pt idx="963">
                  <c:v>42611</c:v>
                </c:pt>
                <c:pt idx="964">
                  <c:v>42612</c:v>
                </c:pt>
                <c:pt idx="965">
                  <c:v>42613</c:v>
                </c:pt>
                <c:pt idx="966">
                  <c:v>42614</c:v>
                </c:pt>
                <c:pt idx="967">
                  <c:v>42615</c:v>
                </c:pt>
                <c:pt idx="968">
                  <c:v>42617</c:v>
                </c:pt>
                <c:pt idx="969">
                  <c:v>42618</c:v>
                </c:pt>
                <c:pt idx="970">
                  <c:v>42619</c:v>
                </c:pt>
                <c:pt idx="971">
                  <c:v>42620</c:v>
                </c:pt>
                <c:pt idx="972">
                  <c:v>42621</c:v>
                </c:pt>
                <c:pt idx="973">
                  <c:v>42622</c:v>
                </c:pt>
                <c:pt idx="974">
                  <c:v>42624</c:v>
                </c:pt>
                <c:pt idx="975">
                  <c:v>42625</c:v>
                </c:pt>
                <c:pt idx="976">
                  <c:v>42626</c:v>
                </c:pt>
                <c:pt idx="977">
                  <c:v>42627</c:v>
                </c:pt>
                <c:pt idx="978">
                  <c:v>42631</c:v>
                </c:pt>
                <c:pt idx="979">
                  <c:v>42632</c:v>
                </c:pt>
                <c:pt idx="980">
                  <c:v>42633</c:v>
                </c:pt>
                <c:pt idx="981">
                  <c:v>42634</c:v>
                </c:pt>
                <c:pt idx="982">
                  <c:v>42635</c:v>
                </c:pt>
                <c:pt idx="983">
                  <c:v>42636</c:v>
                </c:pt>
                <c:pt idx="984">
                  <c:v>42638</c:v>
                </c:pt>
                <c:pt idx="985">
                  <c:v>42639</c:v>
                </c:pt>
                <c:pt idx="986">
                  <c:v>42640</c:v>
                </c:pt>
                <c:pt idx="987">
                  <c:v>42641</c:v>
                </c:pt>
                <c:pt idx="988">
                  <c:v>42642</c:v>
                </c:pt>
                <c:pt idx="989">
                  <c:v>42643</c:v>
                </c:pt>
                <c:pt idx="990">
                  <c:v>42652</c:v>
                </c:pt>
                <c:pt idx="991">
                  <c:v>42653</c:v>
                </c:pt>
                <c:pt idx="992">
                  <c:v>42654</c:v>
                </c:pt>
                <c:pt idx="993">
                  <c:v>42655</c:v>
                </c:pt>
                <c:pt idx="994">
                  <c:v>42656</c:v>
                </c:pt>
                <c:pt idx="995">
                  <c:v>42657</c:v>
                </c:pt>
                <c:pt idx="996">
                  <c:v>42659</c:v>
                </c:pt>
                <c:pt idx="997">
                  <c:v>42660</c:v>
                </c:pt>
                <c:pt idx="998">
                  <c:v>42661</c:v>
                </c:pt>
                <c:pt idx="999">
                  <c:v>42662</c:v>
                </c:pt>
                <c:pt idx="1000">
                  <c:v>42663</c:v>
                </c:pt>
                <c:pt idx="1001">
                  <c:v>42664</c:v>
                </c:pt>
                <c:pt idx="1002">
                  <c:v>42666</c:v>
                </c:pt>
                <c:pt idx="1003">
                  <c:v>42667</c:v>
                </c:pt>
                <c:pt idx="1004">
                  <c:v>42668</c:v>
                </c:pt>
                <c:pt idx="1005">
                  <c:v>42669</c:v>
                </c:pt>
                <c:pt idx="1006">
                  <c:v>42670</c:v>
                </c:pt>
                <c:pt idx="1007">
                  <c:v>42671</c:v>
                </c:pt>
                <c:pt idx="1008">
                  <c:v>42673</c:v>
                </c:pt>
                <c:pt idx="1009">
                  <c:v>42674</c:v>
                </c:pt>
                <c:pt idx="1010">
                  <c:v>42675</c:v>
                </c:pt>
                <c:pt idx="1011">
                  <c:v>42676</c:v>
                </c:pt>
                <c:pt idx="1012">
                  <c:v>42677</c:v>
                </c:pt>
                <c:pt idx="1013">
                  <c:v>42678</c:v>
                </c:pt>
                <c:pt idx="1014">
                  <c:v>42680</c:v>
                </c:pt>
                <c:pt idx="1015">
                  <c:v>42681</c:v>
                </c:pt>
                <c:pt idx="1016">
                  <c:v>42682</c:v>
                </c:pt>
                <c:pt idx="1017">
                  <c:v>42683</c:v>
                </c:pt>
                <c:pt idx="1018">
                  <c:v>42684</c:v>
                </c:pt>
                <c:pt idx="1019">
                  <c:v>42685</c:v>
                </c:pt>
                <c:pt idx="1020">
                  <c:v>42687</c:v>
                </c:pt>
                <c:pt idx="1021">
                  <c:v>42688</c:v>
                </c:pt>
                <c:pt idx="1022">
                  <c:v>42689</c:v>
                </c:pt>
                <c:pt idx="1023">
                  <c:v>42690</c:v>
                </c:pt>
                <c:pt idx="1024">
                  <c:v>42691</c:v>
                </c:pt>
                <c:pt idx="1025">
                  <c:v>42692</c:v>
                </c:pt>
                <c:pt idx="1026">
                  <c:v>42694</c:v>
                </c:pt>
                <c:pt idx="1027">
                  <c:v>42695</c:v>
                </c:pt>
                <c:pt idx="1028">
                  <c:v>42696</c:v>
                </c:pt>
                <c:pt idx="1029">
                  <c:v>42697</c:v>
                </c:pt>
                <c:pt idx="1030">
                  <c:v>42698</c:v>
                </c:pt>
                <c:pt idx="1031">
                  <c:v>42699</c:v>
                </c:pt>
                <c:pt idx="1032">
                  <c:v>42701</c:v>
                </c:pt>
                <c:pt idx="1033">
                  <c:v>42702</c:v>
                </c:pt>
                <c:pt idx="1034">
                  <c:v>42703</c:v>
                </c:pt>
                <c:pt idx="1035">
                  <c:v>42704</c:v>
                </c:pt>
                <c:pt idx="1036">
                  <c:v>42705</c:v>
                </c:pt>
                <c:pt idx="1037">
                  <c:v>42706</c:v>
                </c:pt>
                <c:pt idx="1038">
                  <c:v>42708</c:v>
                </c:pt>
                <c:pt idx="1039">
                  <c:v>42709</c:v>
                </c:pt>
                <c:pt idx="1040">
                  <c:v>42710</c:v>
                </c:pt>
                <c:pt idx="1041">
                  <c:v>42711</c:v>
                </c:pt>
                <c:pt idx="1042">
                  <c:v>42712</c:v>
                </c:pt>
                <c:pt idx="1043">
                  <c:v>42713</c:v>
                </c:pt>
                <c:pt idx="1044">
                  <c:v>42715</c:v>
                </c:pt>
                <c:pt idx="1045">
                  <c:v>42716</c:v>
                </c:pt>
                <c:pt idx="1046">
                  <c:v>42717</c:v>
                </c:pt>
                <c:pt idx="1047">
                  <c:v>42718</c:v>
                </c:pt>
                <c:pt idx="1048">
                  <c:v>42719</c:v>
                </c:pt>
                <c:pt idx="1049">
                  <c:v>42720</c:v>
                </c:pt>
                <c:pt idx="1050">
                  <c:v>42722</c:v>
                </c:pt>
                <c:pt idx="1051">
                  <c:v>42723</c:v>
                </c:pt>
                <c:pt idx="1052">
                  <c:v>42724</c:v>
                </c:pt>
                <c:pt idx="1053">
                  <c:v>42725</c:v>
                </c:pt>
                <c:pt idx="1054">
                  <c:v>42726</c:v>
                </c:pt>
                <c:pt idx="1055">
                  <c:v>42727</c:v>
                </c:pt>
                <c:pt idx="1056">
                  <c:v>42729</c:v>
                </c:pt>
                <c:pt idx="1057">
                  <c:v>42730</c:v>
                </c:pt>
                <c:pt idx="1058">
                  <c:v>42731</c:v>
                </c:pt>
                <c:pt idx="1059">
                  <c:v>42732</c:v>
                </c:pt>
                <c:pt idx="1060">
                  <c:v>42733</c:v>
                </c:pt>
                <c:pt idx="1061">
                  <c:v>42734</c:v>
                </c:pt>
                <c:pt idx="1062">
                  <c:v>42735</c:v>
                </c:pt>
                <c:pt idx="1063">
                  <c:v>42737</c:v>
                </c:pt>
                <c:pt idx="1064">
                  <c:v>42738</c:v>
                </c:pt>
                <c:pt idx="1065">
                  <c:v>42739</c:v>
                </c:pt>
                <c:pt idx="1066">
                  <c:v>42740</c:v>
                </c:pt>
                <c:pt idx="1067">
                  <c:v>42741</c:v>
                </c:pt>
                <c:pt idx="1068">
                  <c:v>42743</c:v>
                </c:pt>
                <c:pt idx="1069">
                  <c:v>42744</c:v>
                </c:pt>
                <c:pt idx="1070">
                  <c:v>42745</c:v>
                </c:pt>
                <c:pt idx="1071">
                  <c:v>42746</c:v>
                </c:pt>
                <c:pt idx="1072">
                  <c:v>42747</c:v>
                </c:pt>
                <c:pt idx="1073">
                  <c:v>42748</c:v>
                </c:pt>
                <c:pt idx="1074">
                  <c:v>42750</c:v>
                </c:pt>
                <c:pt idx="1075">
                  <c:v>42751</c:v>
                </c:pt>
                <c:pt idx="1076">
                  <c:v>42752</c:v>
                </c:pt>
                <c:pt idx="1077">
                  <c:v>42753</c:v>
                </c:pt>
                <c:pt idx="1078">
                  <c:v>42754</c:v>
                </c:pt>
                <c:pt idx="1079">
                  <c:v>42755</c:v>
                </c:pt>
                <c:pt idx="1080">
                  <c:v>42757</c:v>
                </c:pt>
                <c:pt idx="1081">
                  <c:v>42758</c:v>
                </c:pt>
                <c:pt idx="1082">
                  <c:v>42759</c:v>
                </c:pt>
                <c:pt idx="1083">
                  <c:v>42760</c:v>
                </c:pt>
                <c:pt idx="1084">
                  <c:v>42761</c:v>
                </c:pt>
                <c:pt idx="1085">
                  <c:v>42768</c:v>
                </c:pt>
                <c:pt idx="1086">
                  <c:v>42769</c:v>
                </c:pt>
                <c:pt idx="1087">
                  <c:v>42771</c:v>
                </c:pt>
                <c:pt idx="1088">
                  <c:v>42772</c:v>
                </c:pt>
                <c:pt idx="1089">
                  <c:v>42773</c:v>
                </c:pt>
                <c:pt idx="1090">
                  <c:v>42774</c:v>
                </c:pt>
                <c:pt idx="1091">
                  <c:v>42775</c:v>
                </c:pt>
                <c:pt idx="1092">
                  <c:v>42776</c:v>
                </c:pt>
                <c:pt idx="1093">
                  <c:v>42778</c:v>
                </c:pt>
                <c:pt idx="1094">
                  <c:v>42779</c:v>
                </c:pt>
                <c:pt idx="1095">
                  <c:v>42780</c:v>
                </c:pt>
                <c:pt idx="1096">
                  <c:v>42781</c:v>
                </c:pt>
                <c:pt idx="1097">
                  <c:v>42782</c:v>
                </c:pt>
                <c:pt idx="1098">
                  <c:v>42783</c:v>
                </c:pt>
                <c:pt idx="1099">
                  <c:v>42785</c:v>
                </c:pt>
                <c:pt idx="1100">
                  <c:v>42786</c:v>
                </c:pt>
                <c:pt idx="1101">
                  <c:v>42787</c:v>
                </c:pt>
                <c:pt idx="1102">
                  <c:v>42788</c:v>
                </c:pt>
                <c:pt idx="1103">
                  <c:v>42789</c:v>
                </c:pt>
                <c:pt idx="1104">
                  <c:v>42790</c:v>
                </c:pt>
                <c:pt idx="1105">
                  <c:v>42792</c:v>
                </c:pt>
                <c:pt idx="1106">
                  <c:v>42793</c:v>
                </c:pt>
                <c:pt idx="1107">
                  <c:v>42794</c:v>
                </c:pt>
                <c:pt idx="1108">
                  <c:v>42795</c:v>
                </c:pt>
                <c:pt idx="1109">
                  <c:v>42796</c:v>
                </c:pt>
                <c:pt idx="1110">
                  <c:v>42797</c:v>
                </c:pt>
                <c:pt idx="1111">
                  <c:v>42799</c:v>
                </c:pt>
                <c:pt idx="1112">
                  <c:v>42800</c:v>
                </c:pt>
                <c:pt idx="1113">
                  <c:v>42801</c:v>
                </c:pt>
                <c:pt idx="1114">
                  <c:v>42802</c:v>
                </c:pt>
                <c:pt idx="1115">
                  <c:v>42803</c:v>
                </c:pt>
                <c:pt idx="1116">
                  <c:v>42804</c:v>
                </c:pt>
                <c:pt idx="1117">
                  <c:v>42806</c:v>
                </c:pt>
                <c:pt idx="1118">
                  <c:v>42807</c:v>
                </c:pt>
                <c:pt idx="1119">
                  <c:v>42808</c:v>
                </c:pt>
                <c:pt idx="1120">
                  <c:v>42809</c:v>
                </c:pt>
                <c:pt idx="1121">
                  <c:v>42810</c:v>
                </c:pt>
                <c:pt idx="1122">
                  <c:v>42811</c:v>
                </c:pt>
                <c:pt idx="1123">
                  <c:v>42813</c:v>
                </c:pt>
                <c:pt idx="1124">
                  <c:v>42814</c:v>
                </c:pt>
                <c:pt idx="1125">
                  <c:v>42815</c:v>
                </c:pt>
                <c:pt idx="1126">
                  <c:v>42816</c:v>
                </c:pt>
                <c:pt idx="1127">
                  <c:v>42817</c:v>
                </c:pt>
                <c:pt idx="1128">
                  <c:v>42818</c:v>
                </c:pt>
                <c:pt idx="1129">
                  <c:v>42820</c:v>
                </c:pt>
                <c:pt idx="1130">
                  <c:v>42821</c:v>
                </c:pt>
                <c:pt idx="1131">
                  <c:v>42822</c:v>
                </c:pt>
                <c:pt idx="1132">
                  <c:v>42823</c:v>
                </c:pt>
                <c:pt idx="1133">
                  <c:v>42824</c:v>
                </c:pt>
                <c:pt idx="1134">
                  <c:v>42825</c:v>
                </c:pt>
                <c:pt idx="1135">
                  <c:v>42829</c:v>
                </c:pt>
                <c:pt idx="1136">
                  <c:v>42830</c:v>
                </c:pt>
                <c:pt idx="1137">
                  <c:v>42831</c:v>
                </c:pt>
                <c:pt idx="1138">
                  <c:v>42832</c:v>
                </c:pt>
                <c:pt idx="1139">
                  <c:v>42834</c:v>
                </c:pt>
                <c:pt idx="1140">
                  <c:v>42835</c:v>
                </c:pt>
                <c:pt idx="1141">
                  <c:v>42836</c:v>
                </c:pt>
                <c:pt idx="1142">
                  <c:v>42837</c:v>
                </c:pt>
                <c:pt idx="1143">
                  <c:v>42838</c:v>
                </c:pt>
                <c:pt idx="1144">
                  <c:v>42839</c:v>
                </c:pt>
                <c:pt idx="1145">
                  <c:v>42841</c:v>
                </c:pt>
                <c:pt idx="1146">
                  <c:v>42842</c:v>
                </c:pt>
                <c:pt idx="1147">
                  <c:v>42843</c:v>
                </c:pt>
                <c:pt idx="1148">
                  <c:v>42844</c:v>
                </c:pt>
                <c:pt idx="1149">
                  <c:v>42845</c:v>
                </c:pt>
                <c:pt idx="1150">
                  <c:v>42846</c:v>
                </c:pt>
                <c:pt idx="1151">
                  <c:v>42848</c:v>
                </c:pt>
                <c:pt idx="1152">
                  <c:v>42849</c:v>
                </c:pt>
                <c:pt idx="1153">
                  <c:v>42850</c:v>
                </c:pt>
                <c:pt idx="1154">
                  <c:v>42851</c:v>
                </c:pt>
                <c:pt idx="1155">
                  <c:v>42852</c:v>
                </c:pt>
                <c:pt idx="1156">
                  <c:v>42853</c:v>
                </c:pt>
                <c:pt idx="1157">
                  <c:v>42856</c:v>
                </c:pt>
                <c:pt idx="1158">
                  <c:v>42857</c:v>
                </c:pt>
                <c:pt idx="1159">
                  <c:v>42858</c:v>
                </c:pt>
                <c:pt idx="1160">
                  <c:v>42859</c:v>
                </c:pt>
                <c:pt idx="1161">
                  <c:v>42860</c:v>
                </c:pt>
                <c:pt idx="1162">
                  <c:v>42862</c:v>
                </c:pt>
                <c:pt idx="1163">
                  <c:v>42863</c:v>
                </c:pt>
                <c:pt idx="1164">
                  <c:v>42864</c:v>
                </c:pt>
                <c:pt idx="1165">
                  <c:v>42865</c:v>
                </c:pt>
                <c:pt idx="1166">
                  <c:v>42866</c:v>
                </c:pt>
                <c:pt idx="1167">
                  <c:v>42867</c:v>
                </c:pt>
                <c:pt idx="1168">
                  <c:v>42869</c:v>
                </c:pt>
                <c:pt idx="1169">
                  <c:v>42870</c:v>
                </c:pt>
                <c:pt idx="1170">
                  <c:v>42871</c:v>
                </c:pt>
                <c:pt idx="1171">
                  <c:v>42872</c:v>
                </c:pt>
                <c:pt idx="1172">
                  <c:v>42873</c:v>
                </c:pt>
                <c:pt idx="1173">
                  <c:v>42874</c:v>
                </c:pt>
                <c:pt idx="1174">
                  <c:v>42876</c:v>
                </c:pt>
                <c:pt idx="1175">
                  <c:v>42877</c:v>
                </c:pt>
                <c:pt idx="1176">
                  <c:v>42878</c:v>
                </c:pt>
                <c:pt idx="1177">
                  <c:v>42879</c:v>
                </c:pt>
                <c:pt idx="1178">
                  <c:v>42880</c:v>
                </c:pt>
                <c:pt idx="1179">
                  <c:v>42881</c:v>
                </c:pt>
                <c:pt idx="1180">
                  <c:v>42885</c:v>
                </c:pt>
                <c:pt idx="1181">
                  <c:v>42886</c:v>
                </c:pt>
                <c:pt idx="1182">
                  <c:v>42887</c:v>
                </c:pt>
                <c:pt idx="1183">
                  <c:v>42888</c:v>
                </c:pt>
                <c:pt idx="1184">
                  <c:v>42890</c:v>
                </c:pt>
                <c:pt idx="1185">
                  <c:v>42891</c:v>
                </c:pt>
                <c:pt idx="1186">
                  <c:v>42892</c:v>
                </c:pt>
                <c:pt idx="1187">
                  <c:v>42893</c:v>
                </c:pt>
                <c:pt idx="1188">
                  <c:v>42894</c:v>
                </c:pt>
                <c:pt idx="1189">
                  <c:v>42895</c:v>
                </c:pt>
                <c:pt idx="1190">
                  <c:v>42897</c:v>
                </c:pt>
                <c:pt idx="1191">
                  <c:v>42898</c:v>
                </c:pt>
                <c:pt idx="1192">
                  <c:v>42899</c:v>
                </c:pt>
                <c:pt idx="1193">
                  <c:v>42900</c:v>
                </c:pt>
                <c:pt idx="1194">
                  <c:v>42901</c:v>
                </c:pt>
                <c:pt idx="1195">
                  <c:v>42902</c:v>
                </c:pt>
                <c:pt idx="1196">
                  <c:v>42904</c:v>
                </c:pt>
                <c:pt idx="1197">
                  <c:v>42905</c:v>
                </c:pt>
                <c:pt idx="1198">
                  <c:v>42906</c:v>
                </c:pt>
                <c:pt idx="1199">
                  <c:v>42907</c:v>
                </c:pt>
                <c:pt idx="1200">
                  <c:v>42908</c:v>
                </c:pt>
                <c:pt idx="1201">
                  <c:v>42909</c:v>
                </c:pt>
                <c:pt idx="1202">
                  <c:v>42911</c:v>
                </c:pt>
                <c:pt idx="1203">
                  <c:v>42912</c:v>
                </c:pt>
                <c:pt idx="1204">
                  <c:v>42913</c:v>
                </c:pt>
                <c:pt idx="1205">
                  <c:v>42914</c:v>
                </c:pt>
                <c:pt idx="1206">
                  <c:v>42915</c:v>
                </c:pt>
                <c:pt idx="1207">
                  <c:v>42916</c:v>
                </c:pt>
                <c:pt idx="1208">
                  <c:v>42918</c:v>
                </c:pt>
                <c:pt idx="1209">
                  <c:v>42919</c:v>
                </c:pt>
                <c:pt idx="1210">
                  <c:v>42920</c:v>
                </c:pt>
                <c:pt idx="1211">
                  <c:v>42921</c:v>
                </c:pt>
                <c:pt idx="1212">
                  <c:v>42922</c:v>
                </c:pt>
                <c:pt idx="1213">
                  <c:v>42923</c:v>
                </c:pt>
                <c:pt idx="1214">
                  <c:v>42925</c:v>
                </c:pt>
                <c:pt idx="1215">
                  <c:v>42926</c:v>
                </c:pt>
                <c:pt idx="1216">
                  <c:v>42927</c:v>
                </c:pt>
                <c:pt idx="1217">
                  <c:v>42928</c:v>
                </c:pt>
                <c:pt idx="1218">
                  <c:v>42929</c:v>
                </c:pt>
                <c:pt idx="1219">
                  <c:v>42930</c:v>
                </c:pt>
                <c:pt idx="1220">
                  <c:v>42932</c:v>
                </c:pt>
                <c:pt idx="1221">
                  <c:v>42933</c:v>
                </c:pt>
                <c:pt idx="1222">
                  <c:v>42934</c:v>
                </c:pt>
                <c:pt idx="1223">
                  <c:v>42935</c:v>
                </c:pt>
                <c:pt idx="1224">
                  <c:v>42936</c:v>
                </c:pt>
                <c:pt idx="1225">
                  <c:v>42937</c:v>
                </c:pt>
                <c:pt idx="1226">
                  <c:v>42939</c:v>
                </c:pt>
                <c:pt idx="1227">
                  <c:v>42940</c:v>
                </c:pt>
                <c:pt idx="1228">
                  <c:v>42941</c:v>
                </c:pt>
                <c:pt idx="1229">
                  <c:v>42942</c:v>
                </c:pt>
                <c:pt idx="1230">
                  <c:v>42943</c:v>
                </c:pt>
                <c:pt idx="1231">
                  <c:v>42944</c:v>
                </c:pt>
                <c:pt idx="1232">
                  <c:v>42946</c:v>
                </c:pt>
                <c:pt idx="1233">
                  <c:v>42947</c:v>
                </c:pt>
                <c:pt idx="1234">
                  <c:v>42948</c:v>
                </c:pt>
                <c:pt idx="1235">
                  <c:v>42949</c:v>
                </c:pt>
                <c:pt idx="1236">
                  <c:v>42950</c:v>
                </c:pt>
                <c:pt idx="1237">
                  <c:v>42951</c:v>
                </c:pt>
                <c:pt idx="1238">
                  <c:v>42953</c:v>
                </c:pt>
                <c:pt idx="1239">
                  <c:v>42954</c:v>
                </c:pt>
                <c:pt idx="1240">
                  <c:v>42955</c:v>
                </c:pt>
                <c:pt idx="1241">
                  <c:v>42956</c:v>
                </c:pt>
                <c:pt idx="1242">
                  <c:v>42957</c:v>
                </c:pt>
                <c:pt idx="1243">
                  <c:v>42958</c:v>
                </c:pt>
                <c:pt idx="1244">
                  <c:v>42960</c:v>
                </c:pt>
                <c:pt idx="1245">
                  <c:v>42961</c:v>
                </c:pt>
                <c:pt idx="1246">
                  <c:v>42962</c:v>
                </c:pt>
                <c:pt idx="1247">
                  <c:v>42963</c:v>
                </c:pt>
                <c:pt idx="1248">
                  <c:v>42964</c:v>
                </c:pt>
                <c:pt idx="1249">
                  <c:v>42965</c:v>
                </c:pt>
                <c:pt idx="1250">
                  <c:v>42967</c:v>
                </c:pt>
                <c:pt idx="1251">
                  <c:v>42968</c:v>
                </c:pt>
                <c:pt idx="1252">
                  <c:v>42969</c:v>
                </c:pt>
                <c:pt idx="1253">
                  <c:v>42970</c:v>
                </c:pt>
                <c:pt idx="1254">
                  <c:v>42971</c:v>
                </c:pt>
                <c:pt idx="1255">
                  <c:v>42972</c:v>
                </c:pt>
                <c:pt idx="1256">
                  <c:v>42974</c:v>
                </c:pt>
                <c:pt idx="1257">
                  <c:v>42975</c:v>
                </c:pt>
                <c:pt idx="1258">
                  <c:v>42976</c:v>
                </c:pt>
                <c:pt idx="1259">
                  <c:v>42977</c:v>
                </c:pt>
                <c:pt idx="1260">
                  <c:v>42978</c:v>
                </c:pt>
                <c:pt idx="1261">
                  <c:v>42979</c:v>
                </c:pt>
                <c:pt idx="1262">
                  <c:v>42981</c:v>
                </c:pt>
                <c:pt idx="1263">
                  <c:v>42982</c:v>
                </c:pt>
                <c:pt idx="1264">
                  <c:v>42983</c:v>
                </c:pt>
                <c:pt idx="1265">
                  <c:v>42984</c:v>
                </c:pt>
                <c:pt idx="1266">
                  <c:v>42985</c:v>
                </c:pt>
                <c:pt idx="1267">
                  <c:v>42986</c:v>
                </c:pt>
                <c:pt idx="1268">
                  <c:v>42988</c:v>
                </c:pt>
                <c:pt idx="1269">
                  <c:v>42989</c:v>
                </c:pt>
                <c:pt idx="1270">
                  <c:v>42990</c:v>
                </c:pt>
                <c:pt idx="1271">
                  <c:v>42991</c:v>
                </c:pt>
                <c:pt idx="1272">
                  <c:v>42992</c:v>
                </c:pt>
                <c:pt idx="1273">
                  <c:v>42993</c:v>
                </c:pt>
                <c:pt idx="1274">
                  <c:v>42995</c:v>
                </c:pt>
                <c:pt idx="1275">
                  <c:v>42996</c:v>
                </c:pt>
                <c:pt idx="1276">
                  <c:v>42997</c:v>
                </c:pt>
                <c:pt idx="1277">
                  <c:v>42998</c:v>
                </c:pt>
                <c:pt idx="1278">
                  <c:v>42999</c:v>
                </c:pt>
                <c:pt idx="1279">
                  <c:v>43000</c:v>
                </c:pt>
                <c:pt idx="1280">
                  <c:v>43002</c:v>
                </c:pt>
                <c:pt idx="1281">
                  <c:v>43003</c:v>
                </c:pt>
                <c:pt idx="1282">
                  <c:v>43004</c:v>
                </c:pt>
                <c:pt idx="1283">
                  <c:v>43005</c:v>
                </c:pt>
                <c:pt idx="1284">
                  <c:v>43006</c:v>
                </c:pt>
                <c:pt idx="1285">
                  <c:v>43007</c:v>
                </c:pt>
                <c:pt idx="1286">
                  <c:v>43016</c:v>
                </c:pt>
                <c:pt idx="1287">
                  <c:v>43017</c:v>
                </c:pt>
                <c:pt idx="1288">
                  <c:v>43018</c:v>
                </c:pt>
                <c:pt idx="1289">
                  <c:v>43019</c:v>
                </c:pt>
                <c:pt idx="1290">
                  <c:v>43020</c:v>
                </c:pt>
                <c:pt idx="1291">
                  <c:v>43021</c:v>
                </c:pt>
                <c:pt idx="1292">
                  <c:v>43023</c:v>
                </c:pt>
                <c:pt idx="1293">
                  <c:v>43024</c:v>
                </c:pt>
                <c:pt idx="1294">
                  <c:v>43025</c:v>
                </c:pt>
                <c:pt idx="1295">
                  <c:v>43026</c:v>
                </c:pt>
                <c:pt idx="1296">
                  <c:v>43027</c:v>
                </c:pt>
                <c:pt idx="1297">
                  <c:v>43028</c:v>
                </c:pt>
                <c:pt idx="1298">
                  <c:v>43030</c:v>
                </c:pt>
                <c:pt idx="1299">
                  <c:v>43031</c:v>
                </c:pt>
                <c:pt idx="1300">
                  <c:v>43032</c:v>
                </c:pt>
                <c:pt idx="1301">
                  <c:v>43033</c:v>
                </c:pt>
                <c:pt idx="1302">
                  <c:v>43034</c:v>
                </c:pt>
                <c:pt idx="1303">
                  <c:v>43035</c:v>
                </c:pt>
                <c:pt idx="1304">
                  <c:v>43037</c:v>
                </c:pt>
                <c:pt idx="1305">
                  <c:v>43038</c:v>
                </c:pt>
                <c:pt idx="1306">
                  <c:v>43039</c:v>
                </c:pt>
                <c:pt idx="1307">
                  <c:v>43040</c:v>
                </c:pt>
                <c:pt idx="1308">
                  <c:v>43041</c:v>
                </c:pt>
                <c:pt idx="1309">
                  <c:v>43042</c:v>
                </c:pt>
                <c:pt idx="1310">
                  <c:v>43044</c:v>
                </c:pt>
                <c:pt idx="1311">
                  <c:v>43045</c:v>
                </c:pt>
                <c:pt idx="1312">
                  <c:v>43046</c:v>
                </c:pt>
                <c:pt idx="1313">
                  <c:v>43047</c:v>
                </c:pt>
                <c:pt idx="1314">
                  <c:v>43048</c:v>
                </c:pt>
                <c:pt idx="1315">
                  <c:v>43049</c:v>
                </c:pt>
                <c:pt idx="1316">
                  <c:v>43051</c:v>
                </c:pt>
                <c:pt idx="1317">
                  <c:v>43052</c:v>
                </c:pt>
                <c:pt idx="1318">
                  <c:v>43053</c:v>
                </c:pt>
                <c:pt idx="1319">
                  <c:v>43054</c:v>
                </c:pt>
                <c:pt idx="1320">
                  <c:v>43055</c:v>
                </c:pt>
                <c:pt idx="1321">
                  <c:v>43056</c:v>
                </c:pt>
                <c:pt idx="1322">
                  <c:v>43058</c:v>
                </c:pt>
                <c:pt idx="1323">
                  <c:v>43059</c:v>
                </c:pt>
                <c:pt idx="1324">
                  <c:v>43060</c:v>
                </c:pt>
                <c:pt idx="1325">
                  <c:v>43061</c:v>
                </c:pt>
                <c:pt idx="1326">
                  <c:v>43062</c:v>
                </c:pt>
                <c:pt idx="1327">
                  <c:v>43063</c:v>
                </c:pt>
                <c:pt idx="1328">
                  <c:v>43065</c:v>
                </c:pt>
                <c:pt idx="1329">
                  <c:v>43066</c:v>
                </c:pt>
                <c:pt idx="1330">
                  <c:v>43067</c:v>
                </c:pt>
                <c:pt idx="1331">
                  <c:v>43068</c:v>
                </c:pt>
                <c:pt idx="1332">
                  <c:v>43069</c:v>
                </c:pt>
                <c:pt idx="1333">
                  <c:v>43070</c:v>
                </c:pt>
                <c:pt idx="1334">
                  <c:v>43072</c:v>
                </c:pt>
                <c:pt idx="1335">
                  <c:v>43073</c:v>
                </c:pt>
                <c:pt idx="1336">
                  <c:v>43074</c:v>
                </c:pt>
                <c:pt idx="1337">
                  <c:v>43075</c:v>
                </c:pt>
                <c:pt idx="1338">
                  <c:v>43076</c:v>
                </c:pt>
                <c:pt idx="1339">
                  <c:v>43077</c:v>
                </c:pt>
                <c:pt idx="1340">
                  <c:v>43079</c:v>
                </c:pt>
                <c:pt idx="1341">
                  <c:v>43080</c:v>
                </c:pt>
                <c:pt idx="1342">
                  <c:v>43081</c:v>
                </c:pt>
                <c:pt idx="1343">
                  <c:v>43082</c:v>
                </c:pt>
                <c:pt idx="1344">
                  <c:v>43083</c:v>
                </c:pt>
                <c:pt idx="1345">
                  <c:v>43084</c:v>
                </c:pt>
                <c:pt idx="1346">
                  <c:v>43086</c:v>
                </c:pt>
                <c:pt idx="1347">
                  <c:v>43087</c:v>
                </c:pt>
                <c:pt idx="1348">
                  <c:v>43088</c:v>
                </c:pt>
                <c:pt idx="1349">
                  <c:v>43089</c:v>
                </c:pt>
                <c:pt idx="1350">
                  <c:v>43090</c:v>
                </c:pt>
                <c:pt idx="1351">
                  <c:v>43091</c:v>
                </c:pt>
                <c:pt idx="1352">
                  <c:v>43093</c:v>
                </c:pt>
                <c:pt idx="1353">
                  <c:v>43094</c:v>
                </c:pt>
                <c:pt idx="1354">
                  <c:v>43095</c:v>
                </c:pt>
                <c:pt idx="1355">
                  <c:v>43096</c:v>
                </c:pt>
                <c:pt idx="1356">
                  <c:v>43097</c:v>
                </c:pt>
                <c:pt idx="1357">
                  <c:v>43098</c:v>
                </c:pt>
                <c:pt idx="1358">
                  <c:v>43100</c:v>
                </c:pt>
                <c:pt idx="1359">
                  <c:v>43101</c:v>
                </c:pt>
                <c:pt idx="1360">
                  <c:v>43102</c:v>
                </c:pt>
                <c:pt idx="1361">
                  <c:v>43103</c:v>
                </c:pt>
                <c:pt idx="1362">
                  <c:v>43104</c:v>
                </c:pt>
                <c:pt idx="1363">
                  <c:v>43105</c:v>
                </c:pt>
                <c:pt idx="1364">
                  <c:v>43107</c:v>
                </c:pt>
                <c:pt idx="1365">
                  <c:v>43108</c:v>
                </c:pt>
                <c:pt idx="1366">
                  <c:v>43109</c:v>
                </c:pt>
                <c:pt idx="1367">
                  <c:v>43110</c:v>
                </c:pt>
                <c:pt idx="1368">
                  <c:v>43111</c:v>
                </c:pt>
                <c:pt idx="1369">
                  <c:v>43112</c:v>
                </c:pt>
                <c:pt idx="1370">
                  <c:v>43114</c:v>
                </c:pt>
                <c:pt idx="1371">
                  <c:v>43115</c:v>
                </c:pt>
                <c:pt idx="1372">
                  <c:v>43116</c:v>
                </c:pt>
                <c:pt idx="1373">
                  <c:v>43117</c:v>
                </c:pt>
                <c:pt idx="1374">
                  <c:v>43118</c:v>
                </c:pt>
                <c:pt idx="1375">
                  <c:v>43119</c:v>
                </c:pt>
                <c:pt idx="1376">
                  <c:v>43121</c:v>
                </c:pt>
                <c:pt idx="1377">
                  <c:v>43122</c:v>
                </c:pt>
                <c:pt idx="1378">
                  <c:v>43123</c:v>
                </c:pt>
                <c:pt idx="1379">
                  <c:v>43124</c:v>
                </c:pt>
                <c:pt idx="1380">
                  <c:v>43125</c:v>
                </c:pt>
                <c:pt idx="1381">
                  <c:v>43126</c:v>
                </c:pt>
                <c:pt idx="1382">
                  <c:v>43128</c:v>
                </c:pt>
                <c:pt idx="1383">
                  <c:v>43129</c:v>
                </c:pt>
                <c:pt idx="1384">
                  <c:v>43130</c:v>
                </c:pt>
                <c:pt idx="1385">
                  <c:v>43131</c:v>
                </c:pt>
                <c:pt idx="1386">
                  <c:v>43132</c:v>
                </c:pt>
                <c:pt idx="1387">
                  <c:v>43133</c:v>
                </c:pt>
                <c:pt idx="1388">
                  <c:v>43135</c:v>
                </c:pt>
                <c:pt idx="1389">
                  <c:v>43136</c:v>
                </c:pt>
                <c:pt idx="1390">
                  <c:v>43137</c:v>
                </c:pt>
                <c:pt idx="1391">
                  <c:v>43138</c:v>
                </c:pt>
                <c:pt idx="1392">
                  <c:v>43139</c:v>
                </c:pt>
                <c:pt idx="1393">
                  <c:v>43140</c:v>
                </c:pt>
                <c:pt idx="1394">
                  <c:v>43142</c:v>
                </c:pt>
                <c:pt idx="1395">
                  <c:v>43143</c:v>
                </c:pt>
                <c:pt idx="1396">
                  <c:v>43144</c:v>
                </c:pt>
                <c:pt idx="1397">
                  <c:v>43145</c:v>
                </c:pt>
                <c:pt idx="1398">
                  <c:v>43152</c:v>
                </c:pt>
                <c:pt idx="1399">
                  <c:v>43153</c:v>
                </c:pt>
                <c:pt idx="1400">
                  <c:v>43154</c:v>
                </c:pt>
                <c:pt idx="1401">
                  <c:v>43156</c:v>
                </c:pt>
                <c:pt idx="1402">
                  <c:v>43157</c:v>
                </c:pt>
                <c:pt idx="1403">
                  <c:v>43158</c:v>
                </c:pt>
                <c:pt idx="1404">
                  <c:v>43159</c:v>
                </c:pt>
                <c:pt idx="1405">
                  <c:v>43160</c:v>
                </c:pt>
                <c:pt idx="1406">
                  <c:v>43161</c:v>
                </c:pt>
                <c:pt idx="1407">
                  <c:v>43163</c:v>
                </c:pt>
                <c:pt idx="1408">
                  <c:v>43164</c:v>
                </c:pt>
                <c:pt idx="1409">
                  <c:v>43165</c:v>
                </c:pt>
                <c:pt idx="1410">
                  <c:v>43166</c:v>
                </c:pt>
                <c:pt idx="1411">
                  <c:v>43167</c:v>
                </c:pt>
                <c:pt idx="1412">
                  <c:v>43168</c:v>
                </c:pt>
                <c:pt idx="1413">
                  <c:v>43170</c:v>
                </c:pt>
                <c:pt idx="1414">
                  <c:v>43171</c:v>
                </c:pt>
                <c:pt idx="1415">
                  <c:v>43172</c:v>
                </c:pt>
                <c:pt idx="1416">
                  <c:v>43173</c:v>
                </c:pt>
                <c:pt idx="1417">
                  <c:v>43174</c:v>
                </c:pt>
                <c:pt idx="1418">
                  <c:v>43175</c:v>
                </c:pt>
                <c:pt idx="1419">
                  <c:v>43177</c:v>
                </c:pt>
                <c:pt idx="1420">
                  <c:v>43178</c:v>
                </c:pt>
                <c:pt idx="1421">
                  <c:v>43179</c:v>
                </c:pt>
                <c:pt idx="1422">
                  <c:v>43180</c:v>
                </c:pt>
                <c:pt idx="1423">
                  <c:v>43181</c:v>
                </c:pt>
                <c:pt idx="1424">
                  <c:v>43182</c:v>
                </c:pt>
                <c:pt idx="1425">
                  <c:v>43184</c:v>
                </c:pt>
                <c:pt idx="1426">
                  <c:v>43185</c:v>
                </c:pt>
                <c:pt idx="1427">
                  <c:v>43186</c:v>
                </c:pt>
                <c:pt idx="1428">
                  <c:v>43187</c:v>
                </c:pt>
                <c:pt idx="1429">
                  <c:v>43188</c:v>
                </c:pt>
                <c:pt idx="1430">
                  <c:v>43189</c:v>
                </c:pt>
                <c:pt idx="1431">
                  <c:v>43191</c:v>
                </c:pt>
                <c:pt idx="1432">
                  <c:v>43192</c:v>
                </c:pt>
                <c:pt idx="1433">
                  <c:v>43193</c:v>
                </c:pt>
                <c:pt idx="1434">
                  <c:v>43194</c:v>
                </c:pt>
                <c:pt idx="1435">
                  <c:v>43198</c:v>
                </c:pt>
                <c:pt idx="1436">
                  <c:v>43199</c:v>
                </c:pt>
                <c:pt idx="1437">
                  <c:v>43200</c:v>
                </c:pt>
                <c:pt idx="1438">
                  <c:v>43201</c:v>
                </c:pt>
                <c:pt idx="1439">
                  <c:v>43202</c:v>
                </c:pt>
                <c:pt idx="1440">
                  <c:v>43203</c:v>
                </c:pt>
                <c:pt idx="1441">
                  <c:v>43205</c:v>
                </c:pt>
                <c:pt idx="1442">
                  <c:v>43206</c:v>
                </c:pt>
                <c:pt idx="1443">
                  <c:v>43207</c:v>
                </c:pt>
                <c:pt idx="1444">
                  <c:v>43208</c:v>
                </c:pt>
                <c:pt idx="1445">
                  <c:v>43209</c:v>
                </c:pt>
                <c:pt idx="1446">
                  <c:v>43210</c:v>
                </c:pt>
                <c:pt idx="1447">
                  <c:v>43212</c:v>
                </c:pt>
                <c:pt idx="1448">
                  <c:v>43213</c:v>
                </c:pt>
                <c:pt idx="1449">
                  <c:v>43214</c:v>
                </c:pt>
                <c:pt idx="1450">
                  <c:v>43215</c:v>
                </c:pt>
                <c:pt idx="1451">
                  <c:v>43216</c:v>
                </c:pt>
                <c:pt idx="1452">
                  <c:v>43217</c:v>
                </c:pt>
                <c:pt idx="1453">
                  <c:v>43221</c:v>
                </c:pt>
                <c:pt idx="1454">
                  <c:v>43222</c:v>
                </c:pt>
                <c:pt idx="1455">
                  <c:v>43223</c:v>
                </c:pt>
                <c:pt idx="1456">
                  <c:v>43224</c:v>
                </c:pt>
                <c:pt idx="1457">
                  <c:v>43226</c:v>
                </c:pt>
                <c:pt idx="1458">
                  <c:v>43227</c:v>
                </c:pt>
                <c:pt idx="1459">
                  <c:v>43228</c:v>
                </c:pt>
                <c:pt idx="1460">
                  <c:v>43229</c:v>
                </c:pt>
                <c:pt idx="1461">
                  <c:v>43230</c:v>
                </c:pt>
                <c:pt idx="1462">
                  <c:v>43231</c:v>
                </c:pt>
                <c:pt idx="1463">
                  <c:v>43233</c:v>
                </c:pt>
                <c:pt idx="1464">
                  <c:v>43234</c:v>
                </c:pt>
                <c:pt idx="1465">
                  <c:v>43235</c:v>
                </c:pt>
                <c:pt idx="1466">
                  <c:v>43236</c:v>
                </c:pt>
                <c:pt idx="1467">
                  <c:v>43237</c:v>
                </c:pt>
                <c:pt idx="1468">
                  <c:v>43238</c:v>
                </c:pt>
                <c:pt idx="1469">
                  <c:v>43240</c:v>
                </c:pt>
                <c:pt idx="1470">
                  <c:v>43241</c:v>
                </c:pt>
                <c:pt idx="1471">
                  <c:v>43242</c:v>
                </c:pt>
                <c:pt idx="1472">
                  <c:v>43243</c:v>
                </c:pt>
                <c:pt idx="1473">
                  <c:v>43244</c:v>
                </c:pt>
                <c:pt idx="1474">
                  <c:v>43245</c:v>
                </c:pt>
                <c:pt idx="1475">
                  <c:v>43247</c:v>
                </c:pt>
                <c:pt idx="1476">
                  <c:v>43248</c:v>
                </c:pt>
                <c:pt idx="1477">
                  <c:v>43249</c:v>
                </c:pt>
                <c:pt idx="1478">
                  <c:v>43250</c:v>
                </c:pt>
                <c:pt idx="1479">
                  <c:v>43251</c:v>
                </c:pt>
                <c:pt idx="1480">
                  <c:v>43252</c:v>
                </c:pt>
                <c:pt idx="1481">
                  <c:v>43254</c:v>
                </c:pt>
                <c:pt idx="1482">
                  <c:v>43255</c:v>
                </c:pt>
                <c:pt idx="1483">
                  <c:v>43256</c:v>
                </c:pt>
                <c:pt idx="1484">
                  <c:v>43257</c:v>
                </c:pt>
                <c:pt idx="1485">
                  <c:v>43258</c:v>
                </c:pt>
                <c:pt idx="1486">
                  <c:v>43259</c:v>
                </c:pt>
                <c:pt idx="1487">
                  <c:v>43261</c:v>
                </c:pt>
                <c:pt idx="1488">
                  <c:v>43262</c:v>
                </c:pt>
                <c:pt idx="1489">
                  <c:v>43263</c:v>
                </c:pt>
                <c:pt idx="1490">
                  <c:v>43264</c:v>
                </c:pt>
                <c:pt idx="1491">
                  <c:v>43265</c:v>
                </c:pt>
                <c:pt idx="1492">
                  <c:v>43266</c:v>
                </c:pt>
                <c:pt idx="1493">
                  <c:v>43269</c:v>
                </c:pt>
                <c:pt idx="1494">
                  <c:v>43270</c:v>
                </c:pt>
                <c:pt idx="1495">
                  <c:v>43271</c:v>
                </c:pt>
                <c:pt idx="1496">
                  <c:v>43272</c:v>
                </c:pt>
                <c:pt idx="1497">
                  <c:v>43273</c:v>
                </c:pt>
                <c:pt idx="1498">
                  <c:v>43275</c:v>
                </c:pt>
                <c:pt idx="1499">
                  <c:v>43276</c:v>
                </c:pt>
                <c:pt idx="1500">
                  <c:v>43277</c:v>
                </c:pt>
                <c:pt idx="1501">
                  <c:v>43278</c:v>
                </c:pt>
                <c:pt idx="1502">
                  <c:v>43279</c:v>
                </c:pt>
                <c:pt idx="1503">
                  <c:v>43280</c:v>
                </c:pt>
                <c:pt idx="1504">
                  <c:v>43281</c:v>
                </c:pt>
                <c:pt idx="1505">
                  <c:v>43282</c:v>
                </c:pt>
                <c:pt idx="1506">
                  <c:v>43283</c:v>
                </c:pt>
                <c:pt idx="1507">
                  <c:v>43284</c:v>
                </c:pt>
                <c:pt idx="1508">
                  <c:v>43285</c:v>
                </c:pt>
                <c:pt idx="1509">
                  <c:v>43286</c:v>
                </c:pt>
                <c:pt idx="1510">
                  <c:v>43287</c:v>
                </c:pt>
                <c:pt idx="1511">
                  <c:v>43289</c:v>
                </c:pt>
                <c:pt idx="1512">
                  <c:v>43290</c:v>
                </c:pt>
                <c:pt idx="1513">
                  <c:v>43291</c:v>
                </c:pt>
                <c:pt idx="1514">
                  <c:v>43292</c:v>
                </c:pt>
                <c:pt idx="1515">
                  <c:v>43293</c:v>
                </c:pt>
                <c:pt idx="1516">
                  <c:v>43294</c:v>
                </c:pt>
                <c:pt idx="1517">
                  <c:v>43296</c:v>
                </c:pt>
                <c:pt idx="1518">
                  <c:v>43297</c:v>
                </c:pt>
                <c:pt idx="1519">
                  <c:v>43298</c:v>
                </c:pt>
                <c:pt idx="1520">
                  <c:v>43299</c:v>
                </c:pt>
                <c:pt idx="1521">
                  <c:v>43300</c:v>
                </c:pt>
                <c:pt idx="1522">
                  <c:v>43301</c:v>
                </c:pt>
                <c:pt idx="1523">
                  <c:v>43303</c:v>
                </c:pt>
                <c:pt idx="1524">
                  <c:v>43304</c:v>
                </c:pt>
                <c:pt idx="1525">
                  <c:v>43305</c:v>
                </c:pt>
                <c:pt idx="1526">
                  <c:v>43306</c:v>
                </c:pt>
                <c:pt idx="1527">
                  <c:v>43307</c:v>
                </c:pt>
                <c:pt idx="1528">
                  <c:v>43308</c:v>
                </c:pt>
                <c:pt idx="1529">
                  <c:v>43310</c:v>
                </c:pt>
                <c:pt idx="1530">
                  <c:v>43311</c:v>
                </c:pt>
                <c:pt idx="1531">
                  <c:v>43312</c:v>
                </c:pt>
                <c:pt idx="1532">
                  <c:v>43313</c:v>
                </c:pt>
                <c:pt idx="1533">
                  <c:v>43314</c:v>
                </c:pt>
                <c:pt idx="1534">
                  <c:v>43315</c:v>
                </c:pt>
                <c:pt idx="1535">
                  <c:v>43317</c:v>
                </c:pt>
                <c:pt idx="1536">
                  <c:v>43318</c:v>
                </c:pt>
                <c:pt idx="1537">
                  <c:v>43319</c:v>
                </c:pt>
                <c:pt idx="1538">
                  <c:v>43320</c:v>
                </c:pt>
                <c:pt idx="1539">
                  <c:v>43321</c:v>
                </c:pt>
                <c:pt idx="1540">
                  <c:v>43322</c:v>
                </c:pt>
                <c:pt idx="1541">
                  <c:v>43324</c:v>
                </c:pt>
                <c:pt idx="1542">
                  <c:v>43325</c:v>
                </c:pt>
                <c:pt idx="1543">
                  <c:v>43326</c:v>
                </c:pt>
                <c:pt idx="1544">
                  <c:v>43327</c:v>
                </c:pt>
                <c:pt idx="1545">
                  <c:v>43328</c:v>
                </c:pt>
                <c:pt idx="1546">
                  <c:v>43329</c:v>
                </c:pt>
                <c:pt idx="1547">
                  <c:v>43331</c:v>
                </c:pt>
                <c:pt idx="1548">
                  <c:v>43332</c:v>
                </c:pt>
                <c:pt idx="1549">
                  <c:v>43333</c:v>
                </c:pt>
                <c:pt idx="1550">
                  <c:v>43334</c:v>
                </c:pt>
                <c:pt idx="1551">
                  <c:v>43335</c:v>
                </c:pt>
                <c:pt idx="1552">
                  <c:v>43336</c:v>
                </c:pt>
                <c:pt idx="1553">
                  <c:v>43338</c:v>
                </c:pt>
                <c:pt idx="1554">
                  <c:v>43339</c:v>
                </c:pt>
                <c:pt idx="1555">
                  <c:v>43340</c:v>
                </c:pt>
                <c:pt idx="1556">
                  <c:v>43341</c:v>
                </c:pt>
                <c:pt idx="1557">
                  <c:v>43342</c:v>
                </c:pt>
                <c:pt idx="1558">
                  <c:v>43343</c:v>
                </c:pt>
                <c:pt idx="1559">
                  <c:v>43345</c:v>
                </c:pt>
                <c:pt idx="1560">
                  <c:v>43346</c:v>
                </c:pt>
                <c:pt idx="1561">
                  <c:v>43347</c:v>
                </c:pt>
                <c:pt idx="1562">
                  <c:v>43348</c:v>
                </c:pt>
                <c:pt idx="1563">
                  <c:v>43349</c:v>
                </c:pt>
                <c:pt idx="1564">
                  <c:v>43350</c:v>
                </c:pt>
                <c:pt idx="1565">
                  <c:v>43352</c:v>
                </c:pt>
                <c:pt idx="1566">
                  <c:v>43353</c:v>
                </c:pt>
                <c:pt idx="1567">
                  <c:v>43354</c:v>
                </c:pt>
                <c:pt idx="1568">
                  <c:v>43355</c:v>
                </c:pt>
                <c:pt idx="1569">
                  <c:v>43356</c:v>
                </c:pt>
                <c:pt idx="1570">
                  <c:v>43357</c:v>
                </c:pt>
                <c:pt idx="1571">
                  <c:v>43359</c:v>
                </c:pt>
                <c:pt idx="1572">
                  <c:v>43360</c:v>
                </c:pt>
                <c:pt idx="1573">
                  <c:v>43361</c:v>
                </c:pt>
                <c:pt idx="1574">
                  <c:v>43362</c:v>
                </c:pt>
                <c:pt idx="1575">
                  <c:v>43363</c:v>
                </c:pt>
                <c:pt idx="1576">
                  <c:v>43364</c:v>
                </c:pt>
                <c:pt idx="1577">
                  <c:v>43367</c:v>
                </c:pt>
                <c:pt idx="1578">
                  <c:v>43368</c:v>
                </c:pt>
                <c:pt idx="1579">
                  <c:v>43369</c:v>
                </c:pt>
                <c:pt idx="1580">
                  <c:v>43370</c:v>
                </c:pt>
                <c:pt idx="1581">
                  <c:v>43371</c:v>
                </c:pt>
                <c:pt idx="1582">
                  <c:v>43380</c:v>
                </c:pt>
                <c:pt idx="1583">
                  <c:v>43381</c:v>
                </c:pt>
                <c:pt idx="1584">
                  <c:v>43382</c:v>
                </c:pt>
                <c:pt idx="1585">
                  <c:v>43383</c:v>
                </c:pt>
                <c:pt idx="1586">
                  <c:v>43384</c:v>
                </c:pt>
                <c:pt idx="1587">
                  <c:v>43385</c:v>
                </c:pt>
                <c:pt idx="1588">
                  <c:v>43387</c:v>
                </c:pt>
                <c:pt idx="1589">
                  <c:v>43388</c:v>
                </c:pt>
                <c:pt idx="1590">
                  <c:v>43389</c:v>
                </c:pt>
                <c:pt idx="1591">
                  <c:v>43390</c:v>
                </c:pt>
                <c:pt idx="1592">
                  <c:v>43391</c:v>
                </c:pt>
                <c:pt idx="1593">
                  <c:v>43392</c:v>
                </c:pt>
                <c:pt idx="1594">
                  <c:v>43394</c:v>
                </c:pt>
                <c:pt idx="1595">
                  <c:v>43395</c:v>
                </c:pt>
                <c:pt idx="1596">
                  <c:v>43396</c:v>
                </c:pt>
                <c:pt idx="1597">
                  <c:v>43397</c:v>
                </c:pt>
                <c:pt idx="1598">
                  <c:v>43398</c:v>
                </c:pt>
                <c:pt idx="1599">
                  <c:v>43399</c:v>
                </c:pt>
                <c:pt idx="1600">
                  <c:v>43401</c:v>
                </c:pt>
                <c:pt idx="1601">
                  <c:v>43402</c:v>
                </c:pt>
                <c:pt idx="1602">
                  <c:v>43403</c:v>
                </c:pt>
                <c:pt idx="1603">
                  <c:v>43404</c:v>
                </c:pt>
                <c:pt idx="1604">
                  <c:v>43405</c:v>
                </c:pt>
                <c:pt idx="1605">
                  <c:v>43406</c:v>
                </c:pt>
                <c:pt idx="1606">
                  <c:v>43408</c:v>
                </c:pt>
                <c:pt idx="1607">
                  <c:v>43409</c:v>
                </c:pt>
                <c:pt idx="1608">
                  <c:v>43410</c:v>
                </c:pt>
                <c:pt idx="1609">
                  <c:v>43411</c:v>
                </c:pt>
                <c:pt idx="1610">
                  <c:v>43412</c:v>
                </c:pt>
                <c:pt idx="1611">
                  <c:v>43413</c:v>
                </c:pt>
                <c:pt idx="1612">
                  <c:v>43415</c:v>
                </c:pt>
                <c:pt idx="1613">
                  <c:v>43416</c:v>
                </c:pt>
                <c:pt idx="1614">
                  <c:v>43417</c:v>
                </c:pt>
                <c:pt idx="1615">
                  <c:v>43418</c:v>
                </c:pt>
                <c:pt idx="1616">
                  <c:v>43419</c:v>
                </c:pt>
                <c:pt idx="1617">
                  <c:v>43420</c:v>
                </c:pt>
                <c:pt idx="1618">
                  <c:v>43422</c:v>
                </c:pt>
                <c:pt idx="1619">
                  <c:v>43423</c:v>
                </c:pt>
                <c:pt idx="1620">
                  <c:v>43424</c:v>
                </c:pt>
                <c:pt idx="1621">
                  <c:v>43425</c:v>
                </c:pt>
                <c:pt idx="1622">
                  <c:v>43426</c:v>
                </c:pt>
                <c:pt idx="1623">
                  <c:v>43427</c:v>
                </c:pt>
                <c:pt idx="1624">
                  <c:v>43429</c:v>
                </c:pt>
                <c:pt idx="1625">
                  <c:v>43430</c:v>
                </c:pt>
                <c:pt idx="1626">
                  <c:v>43431</c:v>
                </c:pt>
                <c:pt idx="1627">
                  <c:v>43432</c:v>
                </c:pt>
                <c:pt idx="1628">
                  <c:v>43433</c:v>
                </c:pt>
                <c:pt idx="1629">
                  <c:v>43434</c:v>
                </c:pt>
                <c:pt idx="1630">
                  <c:v>43436</c:v>
                </c:pt>
                <c:pt idx="1631">
                  <c:v>43437</c:v>
                </c:pt>
                <c:pt idx="1632">
                  <c:v>43438</c:v>
                </c:pt>
                <c:pt idx="1633">
                  <c:v>43439</c:v>
                </c:pt>
                <c:pt idx="1634">
                  <c:v>43440</c:v>
                </c:pt>
                <c:pt idx="1635">
                  <c:v>43441</c:v>
                </c:pt>
                <c:pt idx="1636">
                  <c:v>43443</c:v>
                </c:pt>
                <c:pt idx="1637">
                  <c:v>43444</c:v>
                </c:pt>
                <c:pt idx="1638">
                  <c:v>43445</c:v>
                </c:pt>
                <c:pt idx="1639">
                  <c:v>43446</c:v>
                </c:pt>
                <c:pt idx="1640">
                  <c:v>43447</c:v>
                </c:pt>
                <c:pt idx="1641">
                  <c:v>43448</c:v>
                </c:pt>
                <c:pt idx="1642">
                  <c:v>43450</c:v>
                </c:pt>
                <c:pt idx="1643">
                  <c:v>43451</c:v>
                </c:pt>
                <c:pt idx="1644">
                  <c:v>43452</c:v>
                </c:pt>
                <c:pt idx="1645">
                  <c:v>43453</c:v>
                </c:pt>
                <c:pt idx="1646">
                  <c:v>43454</c:v>
                </c:pt>
                <c:pt idx="1647">
                  <c:v>43455</c:v>
                </c:pt>
                <c:pt idx="1648">
                  <c:v>43457</c:v>
                </c:pt>
                <c:pt idx="1649">
                  <c:v>43458</c:v>
                </c:pt>
                <c:pt idx="1650">
                  <c:v>43459</c:v>
                </c:pt>
                <c:pt idx="1651">
                  <c:v>43460</c:v>
                </c:pt>
                <c:pt idx="1652">
                  <c:v>43461</c:v>
                </c:pt>
                <c:pt idx="1653">
                  <c:v>43462</c:v>
                </c:pt>
                <c:pt idx="1654">
                  <c:v>43465</c:v>
                </c:pt>
                <c:pt idx="1655">
                  <c:v>43466</c:v>
                </c:pt>
                <c:pt idx="1656">
                  <c:v>43467</c:v>
                </c:pt>
                <c:pt idx="1657">
                  <c:v>43468</c:v>
                </c:pt>
                <c:pt idx="1658">
                  <c:v>43469</c:v>
                </c:pt>
                <c:pt idx="1659">
                  <c:v>43471</c:v>
                </c:pt>
                <c:pt idx="1660">
                  <c:v>43472</c:v>
                </c:pt>
                <c:pt idx="1661">
                  <c:v>43473</c:v>
                </c:pt>
                <c:pt idx="1662">
                  <c:v>43474</c:v>
                </c:pt>
                <c:pt idx="1663">
                  <c:v>43475</c:v>
                </c:pt>
                <c:pt idx="1664">
                  <c:v>43476</c:v>
                </c:pt>
                <c:pt idx="1665">
                  <c:v>43478</c:v>
                </c:pt>
                <c:pt idx="1666">
                  <c:v>43479</c:v>
                </c:pt>
                <c:pt idx="1667">
                  <c:v>43480</c:v>
                </c:pt>
                <c:pt idx="1668">
                  <c:v>43481</c:v>
                </c:pt>
                <c:pt idx="1669">
                  <c:v>43482</c:v>
                </c:pt>
                <c:pt idx="1670">
                  <c:v>43483</c:v>
                </c:pt>
                <c:pt idx="1671">
                  <c:v>43485</c:v>
                </c:pt>
                <c:pt idx="1672">
                  <c:v>43486</c:v>
                </c:pt>
                <c:pt idx="1673">
                  <c:v>43487</c:v>
                </c:pt>
                <c:pt idx="1674">
                  <c:v>43488</c:v>
                </c:pt>
                <c:pt idx="1675">
                  <c:v>43489</c:v>
                </c:pt>
                <c:pt idx="1676">
                  <c:v>43490</c:v>
                </c:pt>
                <c:pt idx="1677">
                  <c:v>43492</c:v>
                </c:pt>
                <c:pt idx="1678">
                  <c:v>43493</c:v>
                </c:pt>
                <c:pt idx="1679">
                  <c:v>43494</c:v>
                </c:pt>
                <c:pt idx="1680">
                  <c:v>43495</c:v>
                </c:pt>
                <c:pt idx="1681">
                  <c:v>43496</c:v>
                </c:pt>
                <c:pt idx="1682">
                  <c:v>43497</c:v>
                </c:pt>
                <c:pt idx="1683">
                  <c:v>43506</c:v>
                </c:pt>
                <c:pt idx="1684">
                  <c:v>43507</c:v>
                </c:pt>
                <c:pt idx="1685">
                  <c:v>43508</c:v>
                </c:pt>
                <c:pt idx="1686">
                  <c:v>43509</c:v>
                </c:pt>
                <c:pt idx="1687">
                  <c:v>43510</c:v>
                </c:pt>
                <c:pt idx="1688">
                  <c:v>43511</c:v>
                </c:pt>
                <c:pt idx="1689">
                  <c:v>43513</c:v>
                </c:pt>
                <c:pt idx="1690">
                  <c:v>43514</c:v>
                </c:pt>
                <c:pt idx="1691">
                  <c:v>43515</c:v>
                </c:pt>
                <c:pt idx="1692">
                  <c:v>43516</c:v>
                </c:pt>
                <c:pt idx="1693">
                  <c:v>43517</c:v>
                </c:pt>
                <c:pt idx="1694">
                  <c:v>43518</c:v>
                </c:pt>
                <c:pt idx="1695">
                  <c:v>43520</c:v>
                </c:pt>
                <c:pt idx="1696">
                  <c:v>43521</c:v>
                </c:pt>
                <c:pt idx="1697">
                  <c:v>43522</c:v>
                </c:pt>
                <c:pt idx="1698">
                  <c:v>43523</c:v>
                </c:pt>
                <c:pt idx="1699">
                  <c:v>43524</c:v>
                </c:pt>
                <c:pt idx="1700">
                  <c:v>43525</c:v>
                </c:pt>
                <c:pt idx="1701">
                  <c:v>43527</c:v>
                </c:pt>
                <c:pt idx="1702">
                  <c:v>43528</c:v>
                </c:pt>
                <c:pt idx="1703">
                  <c:v>43529</c:v>
                </c:pt>
                <c:pt idx="1704">
                  <c:v>43530</c:v>
                </c:pt>
                <c:pt idx="1705">
                  <c:v>43531</c:v>
                </c:pt>
                <c:pt idx="1706">
                  <c:v>43532</c:v>
                </c:pt>
                <c:pt idx="1707">
                  <c:v>43534</c:v>
                </c:pt>
                <c:pt idx="1708">
                  <c:v>43535</c:v>
                </c:pt>
                <c:pt idx="1709">
                  <c:v>43536</c:v>
                </c:pt>
                <c:pt idx="1710">
                  <c:v>43537</c:v>
                </c:pt>
                <c:pt idx="1711">
                  <c:v>43538</c:v>
                </c:pt>
                <c:pt idx="1712">
                  <c:v>43539</c:v>
                </c:pt>
                <c:pt idx="1713">
                  <c:v>43541</c:v>
                </c:pt>
                <c:pt idx="1714">
                  <c:v>43542</c:v>
                </c:pt>
                <c:pt idx="1715">
                  <c:v>43543</c:v>
                </c:pt>
                <c:pt idx="1716">
                  <c:v>43544</c:v>
                </c:pt>
                <c:pt idx="1717">
                  <c:v>43545</c:v>
                </c:pt>
                <c:pt idx="1718">
                  <c:v>43546</c:v>
                </c:pt>
                <c:pt idx="1719">
                  <c:v>43548</c:v>
                </c:pt>
                <c:pt idx="1720">
                  <c:v>43549</c:v>
                </c:pt>
                <c:pt idx="1721">
                  <c:v>43550</c:v>
                </c:pt>
                <c:pt idx="1722">
                  <c:v>43551</c:v>
                </c:pt>
                <c:pt idx="1723">
                  <c:v>43552</c:v>
                </c:pt>
                <c:pt idx="1724">
                  <c:v>43553</c:v>
                </c:pt>
                <c:pt idx="1725">
                  <c:v>43555</c:v>
                </c:pt>
                <c:pt idx="1726">
                  <c:v>43556</c:v>
                </c:pt>
                <c:pt idx="1727">
                  <c:v>43557</c:v>
                </c:pt>
                <c:pt idx="1728">
                  <c:v>43558</c:v>
                </c:pt>
                <c:pt idx="1729">
                  <c:v>43559</c:v>
                </c:pt>
                <c:pt idx="1730">
                  <c:v>43562</c:v>
                </c:pt>
                <c:pt idx="1731">
                  <c:v>43563</c:v>
                </c:pt>
                <c:pt idx="1732">
                  <c:v>43564</c:v>
                </c:pt>
                <c:pt idx="1733">
                  <c:v>43565</c:v>
                </c:pt>
                <c:pt idx="1734">
                  <c:v>43566</c:v>
                </c:pt>
                <c:pt idx="1735">
                  <c:v>43567</c:v>
                </c:pt>
                <c:pt idx="1736">
                  <c:v>43569</c:v>
                </c:pt>
                <c:pt idx="1737">
                  <c:v>43570</c:v>
                </c:pt>
                <c:pt idx="1738">
                  <c:v>43571</c:v>
                </c:pt>
                <c:pt idx="1739">
                  <c:v>43572</c:v>
                </c:pt>
                <c:pt idx="1740">
                  <c:v>43573</c:v>
                </c:pt>
                <c:pt idx="1741">
                  <c:v>43574</c:v>
                </c:pt>
                <c:pt idx="1742">
                  <c:v>43576</c:v>
                </c:pt>
                <c:pt idx="1743">
                  <c:v>43577</c:v>
                </c:pt>
                <c:pt idx="1744">
                  <c:v>43578</c:v>
                </c:pt>
                <c:pt idx="1745">
                  <c:v>43579</c:v>
                </c:pt>
                <c:pt idx="1746">
                  <c:v>43580</c:v>
                </c:pt>
                <c:pt idx="1747">
                  <c:v>43581</c:v>
                </c:pt>
                <c:pt idx="1748">
                  <c:v>43583</c:v>
                </c:pt>
                <c:pt idx="1749">
                  <c:v>43584</c:v>
                </c:pt>
                <c:pt idx="1750">
                  <c:v>43585</c:v>
                </c:pt>
                <c:pt idx="1751">
                  <c:v>43590</c:v>
                </c:pt>
                <c:pt idx="1752">
                  <c:v>43591</c:v>
                </c:pt>
                <c:pt idx="1753">
                  <c:v>43592</c:v>
                </c:pt>
                <c:pt idx="1754">
                  <c:v>43593</c:v>
                </c:pt>
                <c:pt idx="1755">
                  <c:v>43594</c:v>
                </c:pt>
                <c:pt idx="1756">
                  <c:v>43595</c:v>
                </c:pt>
                <c:pt idx="1757">
                  <c:v>43597</c:v>
                </c:pt>
                <c:pt idx="1758">
                  <c:v>43598</c:v>
                </c:pt>
                <c:pt idx="1759">
                  <c:v>43599</c:v>
                </c:pt>
                <c:pt idx="1760">
                  <c:v>43600</c:v>
                </c:pt>
                <c:pt idx="1761">
                  <c:v>43601</c:v>
                </c:pt>
                <c:pt idx="1762">
                  <c:v>43602</c:v>
                </c:pt>
                <c:pt idx="1763">
                  <c:v>43604</c:v>
                </c:pt>
                <c:pt idx="1764">
                  <c:v>43605</c:v>
                </c:pt>
                <c:pt idx="1765">
                  <c:v>43606</c:v>
                </c:pt>
                <c:pt idx="1766">
                  <c:v>43607</c:v>
                </c:pt>
                <c:pt idx="1767">
                  <c:v>43608</c:v>
                </c:pt>
                <c:pt idx="1768">
                  <c:v>43609</c:v>
                </c:pt>
                <c:pt idx="1769">
                  <c:v>43611</c:v>
                </c:pt>
                <c:pt idx="1770">
                  <c:v>43612</c:v>
                </c:pt>
                <c:pt idx="1771">
                  <c:v>43613</c:v>
                </c:pt>
                <c:pt idx="1772">
                  <c:v>43614</c:v>
                </c:pt>
                <c:pt idx="1773">
                  <c:v>43615</c:v>
                </c:pt>
                <c:pt idx="1774">
                  <c:v>43616</c:v>
                </c:pt>
                <c:pt idx="1775">
                  <c:v>43618</c:v>
                </c:pt>
                <c:pt idx="1776">
                  <c:v>43619</c:v>
                </c:pt>
                <c:pt idx="1777">
                  <c:v>43620</c:v>
                </c:pt>
                <c:pt idx="1778">
                  <c:v>43621</c:v>
                </c:pt>
                <c:pt idx="1779">
                  <c:v>43622</c:v>
                </c:pt>
                <c:pt idx="1780">
                  <c:v>43625</c:v>
                </c:pt>
                <c:pt idx="1781">
                  <c:v>43626</c:v>
                </c:pt>
                <c:pt idx="1782">
                  <c:v>43627</c:v>
                </c:pt>
                <c:pt idx="1783">
                  <c:v>43628</c:v>
                </c:pt>
                <c:pt idx="1784">
                  <c:v>43629</c:v>
                </c:pt>
                <c:pt idx="1785">
                  <c:v>43630</c:v>
                </c:pt>
                <c:pt idx="1786">
                  <c:v>43632</c:v>
                </c:pt>
                <c:pt idx="1787">
                  <c:v>43633</c:v>
                </c:pt>
                <c:pt idx="1788">
                  <c:v>43634</c:v>
                </c:pt>
                <c:pt idx="1789">
                  <c:v>43635</c:v>
                </c:pt>
                <c:pt idx="1790">
                  <c:v>43636</c:v>
                </c:pt>
                <c:pt idx="1791">
                  <c:v>43637</c:v>
                </c:pt>
                <c:pt idx="1792">
                  <c:v>43639</c:v>
                </c:pt>
                <c:pt idx="1793">
                  <c:v>43640</c:v>
                </c:pt>
                <c:pt idx="1794">
                  <c:v>43641</c:v>
                </c:pt>
                <c:pt idx="1795">
                  <c:v>43642</c:v>
                </c:pt>
                <c:pt idx="1796">
                  <c:v>43643</c:v>
                </c:pt>
                <c:pt idx="1797">
                  <c:v>43644</c:v>
                </c:pt>
                <c:pt idx="1798">
                  <c:v>43646</c:v>
                </c:pt>
                <c:pt idx="1799">
                  <c:v>43647</c:v>
                </c:pt>
                <c:pt idx="1800">
                  <c:v>43648</c:v>
                </c:pt>
                <c:pt idx="1801">
                  <c:v>43649</c:v>
                </c:pt>
                <c:pt idx="1802">
                  <c:v>43650</c:v>
                </c:pt>
                <c:pt idx="1803">
                  <c:v>43651</c:v>
                </c:pt>
                <c:pt idx="1804">
                  <c:v>43653</c:v>
                </c:pt>
                <c:pt idx="1805">
                  <c:v>43654</c:v>
                </c:pt>
                <c:pt idx="1806">
                  <c:v>43655</c:v>
                </c:pt>
                <c:pt idx="1807">
                  <c:v>43656</c:v>
                </c:pt>
                <c:pt idx="1808">
                  <c:v>43657</c:v>
                </c:pt>
                <c:pt idx="1809">
                  <c:v>43658</c:v>
                </c:pt>
                <c:pt idx="1810">
                  <c:v>43660</c:v>
                </c:pt>
                <c:pt idx="1811">
                  <c:v>43661</c:v>
                </c:pt>
                <c:pt idx="1812">
                  <c:v>43662</c:v>
                </c:pt>
                <c:pt idx="1813">
                  <c:v>43663</c:v>
                </c:pt>
                <c:pt idx="1814">
                  <c:v>43664</c:v>
                </c:pt>
                <c:pt idx="1815">
                  <c:v>43665</c:v>
                </c:pt>
                <c:pt idx="1816">
                  <c:v>43667</c:v>
                </c:pt>
                <c:pt idx="1817">
                  <c:v>43668</c:v>
                </c:pt>
                <c:pt idx="1818">
                  <c:v>43669</c:v>
                </c:pt>
                <c:pt idx="1819">
                  <c:v>43670</c:v>
                </c:pt>
                <c:pt idx="1820">
                  <c:v>43671</c:v>
                </c:pt>
                <c:pt idx="1821">
                  <c:v>43672</c:v>
                </c:pt>
                <c:pt idx="1822">
                  <c:v>43674</c:v>
                </c:pt>
                <c:pt idx="1823">
                  <c:v>43675</c:v>
                </c:pt>
                <c:pt idx="1824">
                  <c:v>43676</c:v>
                </c:pt>
                <c:pt idx="1825">
                  <c:v>43677</c:v>
                </c:pt>
                <c:pt idx="1826">
                  <c:v>43678</c:v>
                </c:pt>
                <c:pt idx="1827">
                  <c:v>43679</c:v>
                </c:pt>
                <c:pt idx="1828">
                  <c:v>43681</c:v>
                </c:pt>
                <c:pt idx="1829">
                  <c:v>43682</c:v>
                </c:pt>
                <c:pt idx="1830">
                  <c:v>43683</c:v>
                </c:pt>
                <c:pt idx="1831">
                  <c:v>43684</c:v>
                </c:pt>
                <c:pt idx="1832">
                  <c:v>43685</c:v>
                </c:pt>
                <c:pt idx="1833">
                  <c:v>43686</c:v>
                </c:pt>
                <c:pt idx="1834">
                  <c:v>43688</c:v>
                </c:pt>
                <c:pt idx="1835">
                  <c:v>43689</c:v>
                </c:pt>
                <c:pt idx="1836">
                  <c:v>43690</c:v>
                </c:pt>
                <c:pt idx="1837">
                  <c:v>43691</c:v>
                </c:pt>
                <c:pt idx="1838">
                  <c:v>43692</c:v>
                </c:pt>
                <c:pt idx="1839">
                  <c:v>43693</c:v>
                </c:pt>
                <c:pt idx="1840">
                  <c:v>43695</c:v>
                </c:pt>
                <c:pt idx="1841">
                  <c:v>43696</c:v>
                </c:pt>
                <c:pt idx="1842">
                  <c:v>43697</c:v>
                </c:pt>
                <c:pt idx="1843">
                  <c:v>43698</c:v>
                </c:pt>
                <c:pt idx="1844">
                  <c:v>43699</c:v>
                </c:pt>
                <c:pt idx="1845">
                  <c:v>43700</c:v>
                </c:pt>
                <c:pt idx="1846">
                  <c:v>43702</c:v>
                </c:pt>
                <c:pt idx="1847">
                  <c:v>43703</c:v>
                </c:pt>
                <c:pt idx="1848">
                  <c:v>43704</c:v>
                </c:pt>
                <c:pt idx="1849">
                  <c:v>43705</c:v>
                </c:pt>
                <c:pt idx="1850">
                  <c:v>43706</c:v>
                </c:pt>
                <c:pt idx="1851">
                  <c:v>43707</c:v>
                </c:pt>
                <c:pt idx="1852">
                  <c:v>43709</c:v>
                </c:pt>
                <c:pt idx="1853">
                  <c:v>43710</c:v>
                </c:pt>
                <c:pt idx="1854">
                  <c:v>43711</c:v>
                </c:pt>
                <c:pt idx="1855">
                  <c:v>43712</c:v>
                </c:pt>
                <c:pt idx="1856">
                  <c:v>43713</c:v>
                </c:pt>
                <c:pt idx="1857">
                  <c:v>43714</c:v>
                </c:pt>
                <c:pt idx="1858">
                  <c:v>43716</c:v>
                </c:pt>
                <c:pt idx="1859">
                  <c:v>43717</c:v>
                </c:pt>
                <c:pt idx="1860">
                  <c:v>43718</c:v>
                </c:pt>
                <c:pt idx="1861">
                  <c:v>43719</c:v>
                </c:pt>
                <c:pt idx="1862">
                  <c:v>43720</c:v>
                </c:pt>
                <c:pt idx="1863">
                  <c:v>43723</c:v>
                </c:pt>
                <c:pt idx="1864">
                  <c:v>43724</c:v>
                </c:pt>
                <c:pt idx="1865">
                  <c:v>43725</c:v>
                </c:pt>
                <c:pt idx="1866">
                  <c:v>43726</c:v>
                </c:pt>
                <c:pt idx="1867">
                  <c:v>43727</c:v>
                </c:pt>
                <c:pt idx="1868">
                  <c:v>43728</c:v>
                </c:pt>
                <c:pt idx="1869">
                  <c:v>43730</c:v>
                </c:pt>
                <c:pt idx="1870">
                  <c:v>43731</c:v>
                </c:pt>
                <c:pt idx="1871">
                  <c:v>43732</c:v>
                </c:pt>
                <c:pt idx="1872">
                  <c:v>43733</c:v>
                </c:pt>
                <c:pt idx="1873">
                  <c:v>43734</c:v>
                </c:pt>
                <c:pt idx="1874">
                  <c:v>43735</c:v>
                </c:pt>
                <c:pt idx="1875">
                  <c:v>43737</c:v>
                </c:pt>
                <c:pt idx="1876">
                  <c:v>43738</c:v>
                </c:pt>
                <c:pt idx="1877">
                  <c:v>43745</c:v>
                </c:pt>
                <c:pt idx="1878">
                  <c:v>43746</c:v>
                </c:pt>
                <c:pt idx="1879">
                  <c:v>43747</c:v>
                </c:pt>
                <c:pt idx="1880">
                  <c:v>43748</c:v>
                </c:pt>
                <c:pt idx="1881">
                  <c:v>43749</c:v>
                </c:pt>
                <c:pt idx="1882">
                  <c:v>43751</c:v>
                </c:pt>
                <c:pt idx="1883">
                  <c:v>43752</c:v>
                </c:pt>
                <c:pt idx="1884">
                  <c:v>43753</c:v>
                </c:pt>
                <c:pt idx="1885">
                  <c:v>43754</c:v>
                </c:pt>
                <c:pt idx="1886">
                  <c:v>43755</c:v>
                </c:pt>
                <c:pt idx="1887">
                  <c:v>43756</c:v>
                </c:pt>
                <c:pt idx="1888">
                  <c:v>43758</c:v>
                </c:pt>
                <c:pt idx="1889">
                  <c:v>43759</c:v>
                </c:pt>
                <c:pt idx="1890">
                  <c:v>43760</c:v>
                </c:pt>
                <c:pt idx="1891">
                  <c:v>43761</c:v>
                </c:pt>
                <c:pt idx="1892">
                  <c:v>43762</c:v>
                </c:pt>
                <c:pt idx="1893">
                  <c:v>43763</c:v>
                </c:pt>
                <c:pt idx="1894">
                  <c:v>43765</c:v>
                </c:pt>
                <c:pt idx="1895">
                  <c:v>43766</c:v>
                </c:pt>
                <c:pt idx="1896">
                  <c:v>43767</c:v>
                </c:pt>
                <c:pt idx="1897">
                  <c:v>43768</c:v>
                </c:pt>
                <c:pt idx="1898">
                  <c:v>43769</c:v>
                </c:pt>
                <c:pt idx="1899">
                  <c:v>43770</c:v>
                </c:pt>
                <c:pt idx="1900">
                  <c:v>43772</c:v>
                </c:pt>
                <c:pt idx="1901">
                  <c:v>43773</c:v>
                </c:pt>
                <c:pt idx="1902">
                  <c:v>43774</c:v>
                </c:pt>
                <c:pt idx="1903">
                  <c:v>43775</c:v>
                </c:pt>
                <c:pt idx="1904">
                  <c:v>43776</c:v>
                </c:pt>
                <c:pt idx="1905">
                  <c:v>43777</c:v>
                </c:pt>
                <c:pt idx="1906">
                  <c:v>43779</c:v>
                </c:pt>
                <c:pt idx="1907">
                  <c:v>43780</c:v>
                </c:pt>
                <c:pt idx="1908">
                  <c:v>43781</c:v>
                </c:pt>
                <c:pt idx="1909">
                  <c:v>43782</c:v>
                </c:pt>
                <c:pt idx="1910">
                  <c:v>43783</c:v>
                </c:pt>
                <c:pt idx="1911">
                  <c:v>43784</c:v>
                </c:pt>
                <c:pt idx="1912">
                  <c:v>43786</c:v>
                </c:pt>
                <c:pt idx="1913">
                  <c:v>43787</c:v>
                </c:pt>
                <c:pt idx="1914">
                  <c:v>43788</c:v>
                </c:pt>
                <c:pt idx="1915">
                  <c:v>43789</c:v>
                </c:pt>
                <c:pt idx="1916">
                  <c:v>43790</c:v>
                </c:pt>
                <c:pt idx="1917">
                  <c:v>43791</c:v>
                </c:pt>
                <c:pt idx="1918">
                  <c:v>43793</c:v>
                </c:pt>
                <c:pt idx="1919">
                  <c:v>43794</c:v>
                </c:pt>
                <c:pt idx="1920">
                  <c:v>43795</c:v>
                </c:pt>
                <c:pt idx="1921">
                  <c:v>43796</c:v>
                </c:pt>
                <c:pt idx="1922">
                  <c:v>43797</c:v>
                </c:pt>
                <c:pt idx="1923">
                  <c:v>43798</c:v>
                </c:pt>
                <c:pt idx="1924">
                  <c:v>43800</c:v>
                </c:pt>
                <c:pt idx="1925">
                  <c:v>43801</c:v>
                </c:pt>
                <c:pt idx="1926">
                  <c:v>43802</c:v>
                </c:pt>
                <c:pt idx="1927">
                  <c:v>43803</c:v>
                </c:pt>
                <c:pt idx="1928">
                  <c:v>43804</c:v>
                </c:pt>
                <c:pt idx="1929">
                  <c:v>43805</c:v>
                </c:pt>
                <c:pt idx="1930">
                  <c:v>43807</c:v>
                </c:pt>
                <c:pt idx="1931">
                  <c:v>43808</c:v>
                </c:pt>
                <c:pt idx="1932">
                  <c:v>43809</c:v>
                </c:pt>
                <c:pt idx="1933">
                  <c:v>43810</c:v>
                </c:pt>
                <c:pt idx="1934">
                  <c:v>43811</c:v>
                </c:pt>
                <c:pt idx="1935">
                  <c:v>43812</c:v>
                </c:pt>
                <c:pt idx="1936">
                  <c:v>43814</c:v>
                </c:pt>
                <c:pt idx="1937">
                  <c:v>43815</c:v>
                </c:pt>
                <c:pt idx="1938">
                  <c:v>43816</c:v>
                </c:pt>
                <c:pt idx="1939">
                  <c:v>43817</c:v>
                </c:pt>
                <c:pt idx="1940">
                  <c:v>43818</c:v>
                </c:pt>
                <c:pt idx="1941">
                  <c:v>43819</c:v>
                </c:pt>
                <c:pt idx="1942">
                  <c:v>43821</c:v>
                </c:pt>
                <c:pt idx="1943">
                  <c:v>43822</c:v>
                </c:pt>
                <c:pt idx="1944">
                  <c:v>43823</c:v>
                </c:pt>
                <c:pt idx="1945">
                  <c:v>43824</c:v>
                </c:pt>
                <c:pt idx="1946">
                  <c:v>43825</c:v>
                </c:pt>
                <c:pt idx="1947">
                  <c:v>43826</c:v>
                </c:pt>
                <c:pt idx="1948">
                  <c:v>43828</c:v>
                </c:pt>
                <c:pt idx="1949">
                  <c:v>43830</c:v>
                </c:pt>
                <c:pt idx="1950">
                  <c:v>43831</c:v>
                </c:pt>
                <c:pt idx="1951">
                  <c:v>43832</c:v>
                </c:pt>
                <c:pt idx="1952">
                  <c:v>43833</c:v>
                </c:pt>
                <c:pt idx="1953">
                  <c:v>43835</c:v>
                </c:pt>
                <c:pt idx="1954">
                  <c:v>43836</c:v>
                </c:pt>
                <c:pt idx="1955">
                  <c:v>43837</c:v>
                </c:pt>
                <c:pt idx="1956">
                  <c:v>43838</c:v>
                </c:pt>
                <c:pt idx="1957">
                  <c:v>43839</c:v>
                </c:pt>
                <c:pt idx="1958">
                  <c:v>43840</c:v>
                </c:pt>
              </c:numCache>
            </c:numRef>
          </c:cat>
          <c:val>
            <c:numRef>
              <c:f>file!$G$2:$G$1962</c:f>
              <c:numCache>
                <c:formatCode>General</c:formatCode>
                <c:ptCount val="1961"/>
                <c:pt idx="0">
                  <c:v>2.093</c:v>
                </c:pt>
                <c:pt idx="1">
                  <c:v>2.665</c:v>
                </c:pt>
                <c:pt idx="2">
                  <c:v>2.7280000000000002</c:v>
                </c:pt>
                <c:pt idx="3">
                  <c:v>2.7719999999999998</c:v>
                </c:pt>
                <c:pt idx="4">
                  <c:v>3.0230000000000001</c:v>
                </c:pt>
                <c:pt idx="5">
                  <c:v>3.0430000000000001</c:v>
                </c:pt>
                <c:pt idx="6">
                  <c:v>3.0409999999999999</c:v>
                </c:pt>
                <c:pt idx="7">
                  <c:v>3.0350000000000001</c:v>
                </c:pt>
                <c:pt idx="8">
                  <c:v>3.234</c:v>
                </c:pt>
                <c:pt idx="9">
                  <c:v>3.484</c:v>
                </c:pt>
                <c:pt idx="10">
                  <c:v>3.9809999999999999</c:v>
                </c:pt>
                <c:pt idx="11">
                  <c:v>4.3380000000000001</c:v>
                </c:pt>
                <c:pt idx="12">
                  <c:v>4.6760000000000002</c:v>
                </c:pt>
                <c:pt idx="13">
                  <c:v>4.968</c:v>
                </c:pt>
                <c:pt idx="14">
                  <c:v>5.0960000000000001</c:v>
                </c:pt>
                <c:pt idx="15">
                  <c:v>5.2220000000000004</c:v>
                </c:pt>
                <c:pt idx="16">
                  <c:v>5.4189999999999996</c:v>
                </c:pt>
                <c:pt idx="17">
                  <c:v>5.4669999999999996</c:v>
                </c:pt>
                <c:pt idx="18">
                  <c:v>5.6579999999999986</c:v>
                </c:pt>
                <c:pt idx="19">
                  <c:v>5.8599999999999994</c:v>
                </c:pt>
                <c:pt idx="20">
                  <c:v>5.9909999999999997</c:v>
                </c:pt>
                <c:pt idx="21">
                  <c:v>6.0839999999999996</c:v>
                </c:pt>
                <c:pt idx="22">
                  <c:v>6.2990000000000004</c:v>
                </c:pt>
                <c:pt idx="23">
                  <c:v>6.3069999999999986</c:v>
                </c:pt>
                <c:pt idx="24">
                  <c:v>6.1739999999999986</c:v>
                </c:pt>
                <c:pt idx="25">
                  <c:v>6.0339999999999998</c:v>
                </c:pt>
                <c:pt idx="26">
                  <c:v>5.9029999999999996</c:v>
                </c:pt>
                <c:pt idx="27">
                  <c:v>5.7389999999999999</c:v>
                </c:pt>
                <c:pt idx="28">
                  <c:v>5.4249999999999989</c:v>
                </c:pt>
                <c:pt idx="29">
                  <c:v>5.2789999999999999</c:v>
                </c:pt>
                <c:pt idx="30">
                  <c:v>5.1499999999999986</c:v>
                </c:pt>
                <c:pt idx="31">
                  <c:v>5.0469999999999997</c:v>
                </c:pt>
                <c:pt idx="32">
                  <c:v>4.9589999999999996</c:v>
                </c:pt>
                <c:pt idx="33">
                  <c:v>4.8839999999999986</c:v>
                </c:pt>
                <c:pt idx="34">
                  <c:v>4.7450000000000001</c:v>
                </c:pt>
                <c:pt idx="35">
                  <c:v>4.6819999999999986</c:v>
                </c:pt>
                <c:pt idx="36">
                  <c:v>4.6339999999999986</c:v>
                </c:pt>
                <c:pt idx="37">
                  <c:v>4.5819999999999999</c:v>
                </c:pt>
                <c:pt idx="38">
                  <c:v>4.5430000000000001</c:v>
                </c:pt>
                <c:pt idx="39">
                  <c:v>4.5179999999999989</c:v>
                </c:pt>
                <c:pt idx="40">
                  <c:v>4.4710000000000001</c:v>
                </c:pt>
                <c:pt idx="41">
                  <c:v>4.4470000000000001</c:v>
                </c:pt>
                <c:pt idx="42">
                  <c:v>4.4260000000000002</c:v>
                </c:pt>
                <c:pt idx="43">
                  <c:v>4.4239999999999986</c:v>
                </c:pt>
                <c:pt idx="44">
                  <c:v>4.4109999999999996</c:v>
                </c:pt>
                <c:pt idx="45">
                  <c:v>4.3969999999999994</c:v>
                </c:pt>
                <c:pt idx="46">
                  <c:v>4.3710000000000004</c:v>
                </c:pt>
                <c:pt idx="47">
                  <c:v>4.3689999999999989</c:v>
                </c:pt>
                <c:pt idx="48">
                  <c:v>4.3769999999999998</c:v>
                </c:pt>
                <c:pt idx="49">
                  <c:v>4.3919999999999986</c:v>
                </c:pt>
                <c:pt idx="50">
                  <c:v>4.4130000000000003</c:v>
                </c:pt>
                <c:pt idx="51">
                  <c:v>4.4370000000000003</c:v>
                </c:pt>
                <c:pt idx="52">
                  <c:v>4.4829999999999997</c:v>
                </c:pt>
                <c:pt idx="53">
                  <c:v>4.5030000000000001</c:v>
                </c:pt>
                <c:pt idx="54">
                  <c:v>4.5069999999999997</c:v>
                </c:pt>
                <c:pt idx="55">
                  <c:v>4.5090000000000003</c:v>
                </c:pt>
                <c:pt idx="56">
                  <c:v>4.516</c:v>
                </c:pt>
                <c:pt idx="57">
                  <c:v>4.512999999999999</c:v>
                </c:pt>
                <c:pt idx="58">
                  <c:v>4.5110000000000001</c:v>
                </c:pt>
                <c:pt idx="59">
                  <c:v>4.5110000000000001</c:v>
                </c:pt>
                <c:pt idx="60">
                  <c:v>4.5169999999999986</c:v>
                </c:pt>
                <c:pt idx="61">
                  <c:v>4.520999999999999</c:v>
                </c:pt>
                <c:pt idx="62">
                  <c:v>4.5229999999999988</c:v>
                </c:pt>
                <c:pt idx="63">
                  <c:v>4.5239999999999991</c:v>
                </c:pt>
                <c:pt idx="64">
                  <c:v>4.5259999999999989</c:v>
                </c:pt>
                <c:pt idx="65">
                  <c:v>4.532</c:v>
                </c:pt>
                <c:pt idx="66">
                  <c:v>4.54</c:v>
                </c:pt>
                <c:pt idx="67">
                  <c:v>4.544999999999999</c:v>
                </c:pt>
                <c:pt idx="68">
                  <c:v>4.5460000000000003</c:v>
                </c:pt>
                <c:pt idx="69">
                  <c:v>4.548</c:v>
                </c:pt>
                <c:pt idx="70">
                  <c:v>4.5539999999999994</c:v>
                </c:pt>
                <c:pt idx="71">
                  <c:v>4.5460000000000003</c:v>
                </c:pt>
                <c:pt idx="72">
                  <c:v>4.5380000000000003</c:v>
                </c:pt>
                <c:pt idx="73">
                  <c:v>4.5279999999999987</c:v>
                </c:pt>
                <c:pt idx="74">
                  <c:v>4.5830000000000002</c:v>
                </c:pt>
                <c:pt idx="75">
                  <c:v>4.6859999999999991</c:v>
                </c:pt>
                <c:pt idx="76">
                  <c:v>4.6849999999999987</c:v>
                </c:pt>
                <c:pt idx="77">
                  <c:v>4.8289999999999988</c:v>
                </c:pt>
                <c:pt idx="78">
                  <c:v>4.84</c:v>
                </c:pt>
                <c:pt idx="79">
                  <c:v>4.8519999999999994</c:v>
                </c:pt>
                <c:pt idx="80">
                  <c:v>4.8069999999999986</c:v>
                </c:pt>
                <c:pt idx="81">
                  <c:v>4.859</c:v>
                </c:pt>
                <c:pt idx="82">
                  <c:v>4.88</c:v>
                </c:pt>
                <c:pt idx="83">
                  <c:v>4.8760000000000003</c:v>
                </c:pt>
                <c:pt idx="84">
                  <c:v>4.9790000000000001</c:v>
                </c:pt>
                <c:pt idx="85">
                  <c:v>4.9889999999999999</c:v>
                </c:pt>
                <c:pt idx="86">
                  <c:v>5.0010000000000003</c:v>
                </c:pt>
                <c:pt idx="87">
                  <c:v>4.9320000000000004</c:v>
                </c:pt>
                <c:pt idx="88">
                  <c:v>4.9560000000000004</c:v>
                </c:pt>
                <c:pt idx="89">
                  <c:v>4.9420000000000002</c:v>
                </c:pt>
                <c:pt idx="90">
                  <c:v>4.847999999999999</c:v>
                </c:pt>
                <c:pt idx="91">
                  <c:v>4.8939999999999992</c:v>
                </c:pt>
                <c:pt idx="92">
                  <c:v>4.8219999999999992</c:v>
                </c:pt>
                <c:pt idx="93">
                  <c:v>4.7239999999999993</c:v>
                </c:pt>
                <c:pt idx="94">
                  <c:v>4.7669999999999986</c:v>
                </c:pt>
                <c:pt idx="95">
                  <c:v>4.7960000000000003</c:v>
                </c:pt>
                <c:pt idx="96">
                  <c:v>4.8969999999999994</c:v>
                </c:pt>
                <c:pt idx="97">
                  <c:v>4.9630000000000001</c:v>
                </c:pt>
                <c:pt idx="98">
                  <c:v>5.0259999999999989</c:v>
                </c:pt>
                <c:pt idx="99">
                  <c:v>5.07</c:v>
                </c:pt>
                <c:pt idx="100">
                  <c:v>4.9189999999999996</c:v>
                </c:pt>
                <c:pt idx="101">
                  <c:v>5.0060000000000002</c:v>
                </c:pt>
                <c:pt idx="102">
                  <c:v>4.992</c:v>
                </c:pt>
                <c:pt idx="103">
                  <c:v>4.9870000000000001</c:v>
                </c:pt>
                <c:pt idx="104">
                  <c:v>4.9850000000000003</c:v>
                </c:pt>
                <c:pt idx="105">
                  <c:v>4.9779999999999998</c:v>
                </c:pt>
                <c:pt idx="106">
                  <c:v>4.96</c:v>
                </c:pt>
                <c:pt idx="107">
                  <c:v>4.8890000000000002</c:v>
                </c:pt>
                <c:pt idx="108">
                  <c:v>4.899</c:v>
                </c:pt>
                <c:pt idx="109">
                  <c:v>4.8890000000000002</c:v>
                </c:pt>
                <c:pt idx="110">
                  <c:v>4.8780000000000001</c:v>
                </c:pt>
                <c:pt idx="111">
                  <c:v>4.8539999999999992</c:v>
                </c:pt>
                <c:pt idx="112">
                  <c:v>4.887999999999999</c:v>
                </c:pt>
                <c:pt idx="113">
                  <c:v>4.8460000000000001</c:v>
                </c:pt>
                <c:pt idx="114">
                  <c:v>4.8249999999999993</c:v>
                </c:pt>
                <c:pt idx="115">
                  <c:v>4.819</c:v>
                </c:pt>
                <c:pt idx="116">
                  <c:v>4.8109999999999991</c:v>
                </c:pt>
                <c:pt idx="117">
                  <c:v>4.7969999999999997</c:v>
                </c:pt>
                <c:pt idx="118">
                  <c:v>4.7430000000000003</c:v>
                </c:pt>
                <c:pt idx="119">
                  <c:v>4.7539999999999987</c:v>
                </c:pt>
                <c:pt idx="120">
                  <c:v>4.762999999999999</c:v>
                </c:pt>
                <c:pt idx="121">
                  <c:v>4.7720000000000002</c:v>
                </c:pt>
                <c:pt idx="122">
                  <c:v>4.7809999999999997</c:v>
                </c:pt>
                <c:pt idx="123">
                  <c:v>4.8</c:v>
                </c:pt>
                <c:pt idx="124">
                  <c:v>4.8249999999999993</c:v>
                </c:pt>
                <c:pt idx="125">
                  <c:v>4.8279999999999994</c:v>
                </c:pt>
                <c:pt idx="126">
                  <c:v>4.8289999999999988</c:v>
                </c:pt>
                <c:pt idx="127">
                  <c:v>4.8269999999999991</c:v>
                </c:pt>
                <c:pt idx="128">
                  <c:v>4.8269999999999991</c:v>
                </c:pt>
                <c:pt idx="129">
                  <c:v>4.8249999999999993</c:v>
                </c:pt>
                <c:pt idx="130">
                  <c:v>4.9379999999999997</c:v>
                </c:pt>
                <c:pt idx="131">
                  <c:v>5.0279999999999987</c:v>
                </c:pt>
                <c:pt idx="132">
                  <c:v>5.093</c:v>
                </c:pt>
                <c:pt idx="133">
                  <c:v>5.1119999999999992</c:v>
                </c:pt>
                <c:pt idx="134">
                  <c:v>5.2119999999999997</c:v>
                </c:pt>
                <c:pt idx="135">
                  <c:v>5.2350000000000003</c:v>
                </c:pt>
                <c:pt idx="136">
                  <c:v>5.1390000000000002</c:v>
                </c:pt>
                <c:pt idx="137">
                  <c:v>5.0730000000000004</c:v>
                </c:pt>
                <c:pt idx="138">
                  <c:v>5.0330000000000004</c:v>
                </c:pt>
                <c:pt idx="139">
                  <c:v>5.0410000000000004</c:v>
                </c:pt>
                <c:pt idx="140">
                  <c:v>4.9729999999999999</c:v>
                </c:pt>
                <c:pt idx="141">
                  <c:v>5.012999999999999</c:v>
                </c:pt>
                <c:pt idx="142">
                  <c:v>5.0350000000000001</c:v>
                </c:pt>
                <c:pt idx="143">
                  <c:v>5.0569999999999986</c:v>
                </c:pt>
                <c:pt idx="144">
                  <c:v>5.0789999999999997</c:v>
                </c:pt>
                <c:pt idx="145">
                  <c:v>5.1019999999999994</c:v>
                </c:pt>
                <c:pt idx="146">
                  <c:v>5.1229999999999993</c:v>
                </c:pt>
                <c:pt idx="147">
                  <c:v>5.1679999999999993</c:v>
                </c:pt>
                <c:pt idx="148">
                  <c:v>5.1819999999999986</c:v>
                </c:pt>
                <c:pt idx="149">
                  <c:v>5.1939999999999991</c:v>
                </c:pt>
                <c:pt idx="150">
                  <c:v>5.2069999999999999</c:v>
                </c:pt>
                <c:pt idx="151">
                  <c:v>5.2160000000000002</c:v>
                </c:pt>
                <c:pt idx="152">
                  <c:v>5.2140000000000004</c:v>
                </c:pt>
                <c:pt idx="153">
                  <c:v>5.2069999999999999</c:v>
                </c:pt>
                <c:pt idx="154">
                  <c:v>5.226</c:v>
                </c:pt>
                <c:pt idx="155">
                  <c:v>5.2409999999999997</c:v>
                </c:pt>
                <c:pt idx="156">
                  <c:v>5.2530000000000001</c:v>
                </c:pt>
                <c:pt idx="157">
                  <c:v>5.2880000000000003</c:v>
                </c:pt>
                <c:pt idx="158">
                  <c:v>5.3249999999999993</c:v>
                </c:pt>
                <c:pt idx="159">
                  <c:v>5.4</c:v>
                </c:pt>
                <c:pt idx="160">
                  <c:v>5.43</c:v>
                </c:pt>
                <c:pt idx="161">
                  <c:v>5.444</c:v>
                </c:pt>
                <c:pt idx="162">
                  <c:v>5.4630000000000001</c:v>
                </c:pt>
                <c:pt idx="163">
                  <c:v>5.4909999999999997</c:v>
                </c:pt>
                <c:pt idx="164">
                  <c:v>5.5239999999999991</c:v>
                </c:pt>
                <c:pt idx="165">
                  <c:v>5.5919999999999996</c:v>
                </c:pt>
                <c:pt idx="166">
                  <c:v>5.67</c:v>
                </c:pt>
                <c:pt idx="167">
                  <c:v>5.7569999999999997</c:v>
                </c:pt>
                <c:pt idx="168">
                  <c:v>5.8929999999999989</c:v>
                </c:pt>
                <c:pt idx="169">
                  <c:v>6.032</c:v>
                </c:pt>
                <c:pt idx="170">
                  <c:v>6.1919999999999993</c:v>
                </c:pt>
                <c:pt idx="171">
                  <c:v>6.5</c:v>
                </c:pt>
                <c:pt idx="172">
                  <c:v>6.597999999999999</c:v>
                </c:pt>
                <c:pt idx="173">
                  <c:v>6.6959999999999988</c:v>
                </c:pt>
                <c:pt idx="174">
                  <c:v>6.74</c:v>
                </c:pt>
                <c:pt idx="175">
                  <c:v>6.762999999999999</c:v>
                </c:pt>
                <c:pt idx="176">
                  <c:v>6.7530000000000001</c:v>
                </c:pt>
                <c:pt idx="177">
                  <c:v>6.7380000000000004</c:v>
                </c:pt>
                <c:pt idx="178">
                  <c:v>6.726</c:v>
                </c:pt>
                <c:pt idx="179">
                  <c:v>6.7380000000000004</c:v>
                </c:pt>
                <c:pt idx="180">
                  <c:v>6.7610000000000001</c:v>
                </c:pt>
                <c:pt idx="181">
                  <c:v>6.7370000000000001</c:v>
                </c:pt>
                <c:pt idx="182">
                  <c:v>6.7380000000000004</c:v>
                </c:pt>
                <c:pt idx="183">
                  <c:v>6.7030000000000003</c:v>
                </c:pt>
                <c:pt idx="184">
                  <c:v>6.6949999999999994</c:v>
                </c:pt>
                <c:pt idx="185">
                  <c:v>6.67</c:v>
                </c:pt>
                <c:pt idx="186">
                  <c:v>6.6179999999999994</c:v>
                </c:pt>
                <c:pt idx="187">
                  <c:v>6.5949999999999989</c:v>
                </c:pt>
                <c:pt idx="188">
                  <c:v>6.5539999999999994</c:v>
                </c:pt>
                <c:pt idx="189">
                  <c:v>6.48</c:v>
                </c:pt>
                <c:pt idx="190">
                  <c:v>6.46</c:v>
                </c:pt>
                <c:pt idx="191">
                  <c:v>6.423</c:v>
                </c:pt>
                <c:pt idx="192">
                  <c:v>6.3979999999999988</c:v>
                </c:pt>
                <c:pt idx="193">
                  <c:v>6.4130000000000003</c:v>
                </c:pt>
                <c:pt idx="194">
                  <c:v>6.4219999999999997</c:v>
                </c:pt>
                <c:pt idx="195">
                  <c:v>6.4340000000000002</c:v>
                </c:pt>
                <c:pt idx="196">
                  <c:v>6.4160000000000004</c:v>
                </c:pt>
                <c:pt idx="197">
                  <c:v>6.4409999999999998</c:v>
                </c:pt>
                <c:pt idx="198">
                  <c:v>6.4320000000000004</c:v>
                </c:pt>
                <c:pt idx="199">
                  <c:v>6.3599999999999994</c:v>
                </c:pt>
                <c:pt idx="200">
                  <c:v>6.0439999999999996</c:v>
                </c:pt>
                <c:pt idx="201">
                  <c:v>6.0960000000000001</c:v>
                </c:pt>
                <c:pt idx="202">
                  <c:v>6.1739999999999986</c:v>
                </c:pt>
                <c:pt idx="203">
                  <c:v>6.2249999999999988</c:v>
                </c:pt>
                <c:pt idx="204">
                  <c:v>6.262999999999999</c:v>
                </c:pt>
                <c:pt idx="205">
                  <c:v>6.298</c:v>
                </c:pt>
                <c:pt idx="206">
                  <c:v>6.3339999999999996</c:v>
                </c:pt>
                <c:pt idx="207">
                  <c:v>6.3109999999999991</c:v>
                </c:pt>
                <c:pt idx="208">
                  <c:v>6.2859999999999996</c:v>
                </c:pt>
                <c:pt idx="209">
                  <c:v>6.2590000000000003</c:v>
                </c:pt>
                <c:pt idx="210">
                  <c:v>6.2409999999999997</c:v>
                </c:pt>
                <c:pt idx="211">
                  <c:v>6.22</c:v>
                </c:pt>
                <c:pt idx="212">
                  <c:v>6.2009999999999996</c:v>
                </c:pt>
                <c:pt idx="213">
                  <c:v>6.1829999999999989</c:v>
                </c:pt>
                <c:pt idx="214">
                  <c:v>6.1469999999999994</c:v>
                </c:pt>
                <c:pt idx="215">
                  <c:v>6.1360000000000001</c:v>
                </c:pt>
                <c:pt idx="216">
                  <c:v>6.113999999999999</c:v>
                </c:pt>
                <c:pt idx="217">
                  <c:v>6.093</c:v>
                </c:pt>
                <c:pt idx="218">
                  <c:v>6.0619999999999994</c:v>
                </c:pt>
                <c:pt idx="219">
                  <c:v>6.0309999999999997</c:v>
                </c:pt>
                <c:pt idx="220">
                  <c:v>5.9710000000000001</c:v>
                </c:pt>
                <c:pt idx="221">
                  <c:v>5.927999999999999</c:v>
                </c:pt>
                <c:pt idx="222">
                  <c:v>5.8949999999999987</c:v>
                </c:pt>
                <c:pt idx="223">
                  <c:v>5.863999999999999</c:v>
                </c:pt>
                <c:pt idx="224">
                  <c:v>5.835</c:v>
                </c:pt>
                <c:pt idx="225">
                  <c:v>5.8049999999999988</c:v>
                </c:pt>
                <c:pt idx="226">
                  <c:v>5.7439999999999998</c:v>
                </c:pt>
                <c:pt idx="227">
                  <c:v>5.7160000000000002</c:v>
                </c:pt>
                <c:pt idx="228">
                  <c:v>5.6899999999999986</c:v>
                </c:pt>
                <c:pt idx="229">
                  <c:v>5.6679999999999993</c:v>
                </c:pt>
                <c:pt idx="230">
                  <c:v>5.6469999999999994</c:v>
                </c:pt>
                <c:pt idx="231">
                  <c:v>5.6279999999999992</c:v>
                </c:pt>
                <c:pt idx="232">
                  <c:v>5.5919999999999996</c:v>
                </c:pt>
                <c:pt idx="233">
                  <c:v>5.5679999999999987</c:v>
                </c:pt>
                <c:pt idx="234">
                  <c:v>5.5549999999999988</c:v>
                </c:pt>
                <c:pt idx="235">
                  <c:v>5.5439999999999996</c:v>
                </c:pt>
                <c:pt idx="236">
                  <c:v>5.5380000000000003</c:v>
                </c:pt>
                <c:pt idx="237">
                  <c:v>5.5350000000000001</c:v>
                </c:pt>
                <c:pt idx="238">
                  <c:v>5.516</c:v>
                </c:pt>
                <c:pt idx="239">
                  <c:v>5.5110000000000001</c:v>
                </c:pt>
                <c:pt idx="240">
                  <c:v>5.4960000000000004</c:v>
                </c:pt>
                <c:pt idx="241">
                  <c:v>5.4720000000000004</c:v>
                </c:pt>
                <c:pt idx="242">
                  <c:v>5.4450000000000003</c:v>
                </c:pt>
                <c:pt idx="243">
                  <c:v>5.415</c:v>
                </c:pt>
                <c:pt idx="244">
                  <c:v>5.3739999999999997</c:v>
                </c:pt>
                <c:pt idx="245">
                  <c:v>5.3609999999999989</c:v>
                </c:pt>
                <c:pt idx="246">
                  <c:v>5.355999999999999</c:v>
                </c:pt>
                <c:pt idx="247">
                  <c:v>5.3569999999999993</c:v>
                </c:pt>
                <c:pt idx="248">
                  <c:v>5.3619999999999992</c:v>
                </c:pt>
                <c:pt idx="249">
                  <c:v>5.3669999999999991</c:v>
                </c:pt>
                <c:pt idx="250">
                  <c:v>5.3730000000000002</c:v>
                </c:pt>
                <c:pt idx="251">
                  <c:v>5.3679999999999994</c:v>
                </c:pt>
                <c:pt idx="252">
                  <c:v>5.3599999999999994</c:v>
                </c:pt>
                <c:pt idx="253">
                  <c:v>5.351</c:v>
                </c:pt>
                <c:pt idx="254">
                  <c:v>5.3390000000000004</c:v>
                </c:pt>
                <c:pt idx="255">
                  <c:v>5.3149999999999986</c:v>
                </c:pt>
                <c:pt idx="256">
                  <c:v>5.3</c:v>
                </c:pt>
                <c:pt idx="257">
                  <c:v>5.2869999999999999</c:v>
                </c:pt>
                <c:pt idx="258">
                  <c:v>5.2720000000000002</c:v>
                </c:pt>
                <c:pt idx="259">
                  <c:v>5.2530000000000001</c:v>
                </c:pt>
                <c:pt idx="260">
                  <c:v>5.2389999999999999</c:v>
                </c:pt>
                <c:pt idx="261">
                  <c:v>5.21</c:v>
                </c:pt>
                <c:pt idx="262">
                  <c:v>5.2</c:v>
                </c:pt>
                <c:pt idx="263">
                  <c:v>5.1879999999999988</c:v>
                </c:pt>
                <c:pt idx="264">
                  <c:v>5.1710000000000003</c:v>
                </c:pt>
                <c:pt idx="265">
                  <c:v>5.1519999999999992</c:v>
                </c:pt>
                <c:pt idx="266">
                  <c:v>5.13</c:v>
                </c:pt>
                <c:pt idx="267">
                  <c:v>5.0869999999999997</c:v>
                </c:pt>
                <c:pt idx="268">
                  <c:v>5.0669999999999993</c:v>
                </c:pt>
                <c:pt idx="269">
                  <c:v>5.048</c:v>
                </c:pt>
                <c:pt idx="270">
                  <c:v>5.04</c:v>
                </c:pt>
                <c:pt idx="271">
                  <c:v>5.028999999999999</c:v>
                </c:pt>
                <c:pt idx="272">
                  <c:v>5.0219999999999994</c:v>
                </c:pt>
                <c:pt idx="273">
                  <c:v>5.0419999999999998</c:v>
                </c:pt>
                <c:pt idx="274">
                  <c:v>5.0359999999999996</c:v>
                </c:pt>
                <c:pt idx="275">
                  <c:v>5.0279999999999987</c:v>
                </c:pt>
                <c:pt idx="276">
                  <c:v>5.0219999999999994</c:v>
                </c:pt>
                <c:pt idx="277">
                  <c:v>4.9850000000000003</c:v>
                </c:pt>
                <c:pt idx="278">
                  <c:v>4.9690000000000003</c:v>
                </c:pt>
                <c:pt idx="279">
                  <c:v>4.9239999999999986</c:v>
                </c:pt>
                <c:pt idx="280">
                  <c:v>4.9020000000000001</c:v>
                </c:pt>
                <c:pt idx="281">
                  <c:v>4.887999999999999</c:v>
                </c:pt>
                <c:pt idx="282">
                  <c:v>4.8739999999999997</c:v>
                </c:pt>
                <c:pt idx="283">
                  <c:v>4.8419999999999996</c:v>
                </c:pt>
                <c:pt idx="284">
                  <c:v>4.8529999999999989</c:v>
                </c:pt>
                <c:pt idx="285">
                  <c:v>4.8679999999999994</c:v>
                </c:pt>
                <c:pt idx="286">
                  <c:v>4.8819999999999997</c:v>
                </c:pt>
                <c:pt idx="287">
                  <c:v>4.8769999999999998</c:v>
                </c:pt>
                <c:pt idx="288">
                  <c:v>4.8669999999999991</c:v>
                </c:pt>
                <c:pt idx="289">
                  <c:v>4.8310000000000004</c:v>
                </c:pt>
                <c:pt idx="290">
                  <c:v>4.7880000000000003</c:v>
                </c:pt>
                <c:pt idx="291">
                  <c:v>4.7460000000000004</c:v>
                </c:pt>
                <c:pt idx="292">
                  <c:v>4.7119999999999997</c:v>
                </c:pt>
                <c:pt idx="293">
                  <c:v>4.6839999999999993</c:v>
                </c:pt>
                <c:pt idx="294">
                  <c:v>4.6829999999999989</c:v>
                </c:pt>
                <c:pt idx="295">
                  <c:v>4.6599999999999993</c:v>
                </c:pt>
                <c:pt idx="296">
                  <c:v>4.6559999999999988</c:v>
                </c:pt>
                <c:pt idx="297">
                  <c:v>4.6569999999999991</c:v>
                </c:pt>
                <c:pt idx="298">
                  <c:v>4.681</c:v>
                </c:pt>
                <c:pt idx="299">
                  <c:v>4.6639999999999988</c:v>
                </c:pt>
                <c:pt idx="300">
                  <c:v>4.6749999999999989</c:v>
                </c:pt>
                <c:pt idx="301">
                  <c:v>4.6979999999999986</c:v>
                </c:pt>
                <c:pt idx="302">
                  <c:v>4.7060000000000004</c:v>
                </c:pt>
                <c:pt idx="303">
                  <c:v>4.7119999999999997</c:v>
                </c:pt>
                <c:pt idx="304">
                  <c:v>4.702</c:v>
                </c:pt>
                <c:pt idx="305">
                  <c:v>4.7190000000000003</c:v>
                </c:pt>
                <c:pt idx="306">
                  <c:v>4.742</c:v>
                </c:pt>
                <c:pt idx="307">
                  <c:v>4.734</c:v>
                </c:pt>
                <c:pt idx="308">
                  <c:v>4.7239999999999993</c:v>
                </c:pt>
                <c:pt idx="309">
                  <c:v>4.6969999999999992</c:v>
                </c:pt>
                <c:pt idx="310">
                  <c:v>4.6599999999999993</c:v>
                </c:pt>
                <c:pt idx="311">
                  <c:v>4.6339999999999986</c:v>
                </c:pt>
                <c:pt idx="312">
                  <c:v>4.5350000000000001</c:v>
                </c:pt>
                <c:pt idx="313">
                  <c:v>4.4939999999999998</c:v>
                </c:pt>
                <c:pt idx="314">
                  <c:v>4.4630000000000001</c:v>
                </c:pt>
                <c:pt idx="315">
                  <c:v>4.4160000000000004</c:v>
                </c:pt>
                <c:pt idx="316">
                  <c:v>4.375</c:v>
                </c:pt>
                <c:pt idx="317">
                  <c:v>4.323999999999999</c:v>
                </c:pt>
                <c:pt idx="318">
                  <c:v>4.2669999999999986</c:v>
                </c:pt>
                <c:pt idx="319">
                  <c:v>4.2350000000000003</c:v>
                </c:pt>
                <c:pt idx="320">
                  <c:v>4.2210000000000001</c:v>
                </c:pt>
                <c:pt idx="321">
                  <c:v>4.2210000000000001</c:v>
                </c:pt>
                <c:pt idx="322">
                  <c:v>4.2300000000000004</c:v>
                </c:pt>
                <c:pt idx="323">
                  <c:v>4.22</c:v>
                </c:pt>
                <c:pt idx="324">
                  <c:v>4.2160000000000002</c:v>
                </c:pt>
                <c:pt idx="325">
                  <c:v>4.214999999999999</c:v>
                </c:pt>
                <c:pt idx="326">
                  <c:v>4.1909999999999989</c:v>
                </c:pt>
                <c:pt idx="327">
                  <c:v>4.18</c:v>
                </c:pt>
                <c:pt idx="328">
                  <c:v>4.177999999999999</c:v>
                </c:pt>
                <c:pt idx="329">
                  <c:v>4.1769999999999996</c:v>
                </c:pt>
                <c:pt idx="330">
                  <c:v>4.1689999999999987</c:v>
                </c:pt>
                <c:pt idx="331">
                  <c:v>4.1719999999999997</c:v>
                </c:pt>
                <c:pt idx="332">
                  <c:v>4.181</c:v>
                </c:pt>
                <c:pt idx="333">
                  <c:v>4.1919999999999993</c:v>
                </c:pt>
                <c:pt idx="334">
                  <c:v>4.1829999999999989</c:v>
                </c:pt>
                <c:pt idx="335">
                  <c:v>4.1839999999999993</c:v>
                </c:pt>
                <c:pt idx="336">
                  <c:v>4.1839999999999993</c:v>
                </c:pt>
                <c:pt idx="337">
                  <c:v>4.1919999999999993</c:v>
                </c:pt>
                <c:pt idx="338">
                  <c:v>4.1819999999999986</c:v>
                </c:pt>
                <c:pt idx="339">
                  <c:v>4.1760000000000002</c:v>
                </c:pt>
                <c:pt idx="340">
                  <c:v>4.181</c:v>
                </c:pt>
                <c:pt idx="341">
                  <c:v>4.1819999999999986</c:v>
                </c:pt>
                <c:pt idx="342">
                  <c:v>4.1919999999999993</c:v>
                </c:pt>
                <c:pt idx="343">
                  <c:v>4.1839999999999993</c:v>
                </c:pt>
                <c:pt idx="344">
                  <c:v>4.1829999999999989</c:v>
                </c:pt>
                <c:pt idx="345">
                  <c:v>4.177999999999999</c:v>
                </c:pt>
                <c:pt idx="346">
                  <c:v>4.1739999999999986</c:v>
                </c:pt>
                <c:pt idx="347">
                  <c:v>4.1710000000000003</c:v>
                </c:pt>
                <c:pt idx="348">
                  <c:v>4.1659999999999986</c:v>
                </c:pt>
                <c:pt idx="349">
                  <c:v>4.1760000000000002</c:v>
                </c:pt>
                <c:pt idx="350">
                  <c:v>4.177999999999999</c:v>
                </c:pt>
                <c:pt idx="351">
                  <c:v>4.177999999999999</c:v>
                </c:pt>
                <c:pt idx="352">
                  <c:v>4.18</c:v>
                </c:pt>
                <c:pt idx="353">
                  <c:v>4.1919999999999993</c:v>
                </c:pt>
                <c:pt idx="354">
                  <c:v>4.1909999999999989</c:v>
                </c:pt>
                <c:pt idx="355">
                  <c:v>4.1790000000000003</c:v>
                </c:pt>
                <c:pt idx="356">
                  <c:v>4.1760000000000002</c:v>
                </c:pt>
                <c:pt idx="357">
                  <c:v>4.1749999999999989</c:v>
                </c:pt>
                <c:pt idx="358">
                  <c:v>4.1849999999999987</c:v>
                </c:pt>
                <c:pt idx="359">
                  <c:v>4.17</c:v>
                </c:pt>
                <c:pt idx="360">
                  <c:v>4.1649999999999991</c:v>
                </c:pt>
                <c:pt idx="361">
                  <c:v>4.1589999999999989</c:v>
                </c:pt>
                <c:pt idx="362">
                  <c:v>4.1629999999999994</c:v>
                </c:pt>
                <c:pt idx="363">
                  <c:v>4.1689999999999987</c:v>
                </c:pt>
                <c:pt idx="364">
                  <c:v>4.1579999999999986</c:v>
                </c:pt>
                <c:pt idx="365">
                  <c:v>4.1529999999999987</c:v>
                </c:pt>
                <c:pt idx="366">
                  <c:v>4.1390000000000002</c:v>
                </c:pt>
                <c:pt idx="367">
                  <c:v>4.1390000000000002</c:v>
                </c:pt>
                <c:pt idx="368">
                  <c:v>4.1310000000000002</c:v>
                </c:pt>
                <c:pt idx="369">
                  <c:v>4.1229999999999993</c:v>
                </c:pt>
                <c:pt idx="370">
                  <c:v>4.1159999999999988</c:v>
                </c:pt>
                <c:pt idx="371">
                  <c:v>4.1229999999999993</c:v>
                </c:pt>
                <c:pt idx="372">
                  <c:v>4.145999999999999</c:v>
                </c:pt>
                <c:pt idx="373">
                  <c:v>4.1499999999999986</c:v>
                </c:pt>
                <c:pt idx="374">
                  <c:v>4.149</c:v>
                </c:pt>
                <c:pt idx="375">
                  <c:v>4.1529999999999987</c:v>
                </c:pt>
                <c:pt idx="376">
                  <c:v>4.1639999999999988</c:v>
                </c:pt>
                <c:pt idx="377">
                  <c:v>4.1659999999999986</c:v>
                </c:pt>
                <c:pt idx="378">
                  <c:v>4.1429999999999989</c:v>
                </c:pt>
                <c:pt idx="379">
                  <c:v>4.1549999999999994</c:v>
                </c:pt>
                <c:pt idx="380">
                  <c:v>4.153999999999999</c:v>
                </c:pt>
                <c:pt idx="381">
                  <c:v>4.1579999999999986</c:v>
                </c:pt>
                <c:pt idx="382">
                  <c:v>4.1499999999999986</c:v>
                </c:pt>
                <c:pt idx="383">
                  <c:v>4.1479999999999988</c:v>
                </c:pt>
                <c:pt idx="384">
                  <c:v>4.1509999999999989</c:v>
                </c:pt>
                <c:pt idx="385">
                  <c:v>4.153999999999999</c:v>
                </c:pt>
                <c:pt idx="386">
                  <c:v>4.1509999999999989</c:v>
                </c:pt>
                <c:pt idx="387">
                  <c:v>4.1659999999999986</c:v>
                </c:pt>
                <c:pt idx="388">
                  <c:v>4.1659999999999986</c:v>
                </c:pt>
                <c:pt idx="389">
                  <c:v>4.1659999999999986</c:v>
                </c:pt>
                <c:pt idx="390">
                  <c:v>4.1659999999999986</c:v>
                </c:pt>
                <c:pt idx="391">
                  <c:v>4.181</c:v>
                </c:pt>
                <c:pt idx="392">
                  <c:v>4.1829999999999989</c:v>
                </c:pt>
                <c:pt idx="393">
                  <c:v>4.18</c:v>
                </c:pt>
                <c:pt idx="394">
                  <c:v>4.218</c:v>
                </c:pt>
                <c:pt idx="395">
                  <c:v>4.2300000000000004</c:v>
                </c:pt>
                <c:pt idx="396">
                  <c:v>4.2239999999999993</c:v>
                </c:pt>
                <c:pt idx="397">
                  <c:v>4.2</c:v>
                </c:pt>
                <c:pt idx="398">
                  <c:v>4.0890000000000004</c:v>
                </c:pt>
                <c:pt idx="399">
                  <c:v>4.0970000000000004</c:v>
                </c:pt>
                <c:pt idx="400">
                  <c:v>4.1019999999999994</c:v>
                </c:pt>
                <c:pt idx="401">
                  <c:v>4.1079999999999988</c:v>
                </c:pt>
                <c:pt idx="402">
                  <c:v>4.1249999999999991</c:v>
                </c:pt>
                <c:pt idx="403">
                  <c:v>4.1679999999999993</c:v>
                </c:pt>
                <c:pt idx="404">
                  <c:v>4.1879999999999988</c:v>
                </c:pt>
                <c:pt idx="405">
                  <c:v>4.1890000000000001</c:v>
                </c:pt>
                <c:pt idx="406">
                  <c:v>4.202</c:v>
                </c:pt>
                <c:pt idx="407">
                  <c:v>4.2009999999999996</c:v>
                </c:pt>
                <c:pt idx="408">
                  <c:v>4.1849999999999987</c:v>
                </c:pt>
                <c:pt idx="409">
                  <c:v>4.1549999999999994</c:v>
                </c:pt>
                <c:pt idx="410">
                  <c:v>4.1509999999999989</c:v>
                </c:pt>
                <c:pt idx="411">
                  <c:v>4.1399999999999997</c:v>
                </c:pt>
                <c:pt idx="412">
                  <c:v>4.1449999999999987</c:v>
                </c:pt>
                <c:pt idx="413">
                  <c:v>4.1390000000000002</c:v>
                </c:pt>
                <c:pt idx="414">
                  <c:v>4.1259999999999986</c:v>
                </c:pt>
                <c:pt idx="415">
                  <c:v>4.1159999999999988</c:v>
                </c:pt>
                <c:pt idx="416">
                  <c:v>4.1449999999999987</c:v>
                </c:pt>
                <c:pt idx="417">
                  <c:v>4.149</c:v>
                </c:pt>
                <c:pt idx="418">
                  <c:v>4.1189999999999989</c:v>
                </c:pt>
                <c:pt idx="419">
                  <c:v>4.1119999999999992</c:v>
                </c:pt>
                <c:pt idx="420">
                  <c:v>4.1050000000000004</c:v>
                </c:pt>
                <c:pt idx="421">
                  <c:v>4.097999999999999</c:v>
                </c:pt>
                <c:pt idx="422">
                  <c:v>4.056</c:v>
                </c:pt>
                <c:pt idx="423">
                  <c:v>4.056</c:v>
                </c:pt>
                <c:pt idx="424">
                  <c:v>4.0569999999999986</c:v>
                </c:pt>
                <c:pt idx="425">
                  <c:v>4.0659999999999989</c:v>
                </c:pt>
                <c:pt idx="426">
                  <c:v>4.07</c:v>
                </c:pt>
                <c:pt idx="427">
                  <c:v>4.0739999999999998</c:v>
                </c:pt>
                <c:pt idx="428">
                  <c:v>4.1029999999999989</c:v>
                </c:pt>
                <c:pt idx="429">
                  <c:v>4.198999999999999</c:v>
                </c:pt>
                <c:pt idx="430">
                  <c:v>4.2560000000000002</c:v>
                </c:pt>
                <c:pt idx="431">
                  <c:v>4.2480000000000002</c:v>
                </c:pt>
                <c:pt idx="432">
                  <c:v>4.2380000000000004</c:v>
                </c:pt>
                <c:pt idx="433">
                  <c:v>4.2430000000000003</c:v>
                </c:pt>
                <c:pt idx="434">
                  <c:v>4.2249999999999988</c:v>
                </c:pt>
                <c:pt idx="435">
                  <c:v>4.1179999999999994</c:v>
                </c:pt>
                <c:pt idx="436">
                  <c:v>4.0679999999999987</c:v>
                </c:pt>
                <c:pt idx="437">
                  <c:v>4.0780000000000003</c:v>
                </c:pt>
                <c:pt idx="438">
                  <c:v>4.077</c:v>
                </c:pt>
                <c:pt idx="439">
                  <c:v>4.0720000000000001</c:v>
                </c:pt>
                <c:pt idx="440">
                  <c:v>4.0469999999999997</c:v>
                </c:pt>
                <c:pt idx="441">
                  <c:v>4.044999999999999</c:v>
                </c:pt>
                <c:pt idx="442">
                  <c:v>4.0339999999999998</c:v>
                </c:pt>
                <c:pt idx="443">
                  <c:v>4.0549999999999988</c:v>
                </c:pt>
                <c:pt idx="444">
                  <c:v>4.0590000000000002</c:v>
                </c:pt>
                <c:pt idx="445">
                  <c:v>4.0679999999999987</c:v>
                </c:pt>
                <c:pt idx="446">
                  <c:v>4.09</c:v>
                </c:pt>
                <c:pt idx="447">
                  <c:v>4.0890000000000004</c:v>
                </c:pt>
                <c:pt idx="448">
                  <c:v>4.0990000000000002</c:v>
                </c:pt>
                <c:pt idx="449">
                  <c:v>4.0720000000000001</c:v>
                </c:pt>
                <c:pt idx="450">
                  <c:v>4.0609999999999991</c:v>
                </c:pt>
                <c:pt idx="451">
                  <c:v>4.0369999999999999</c:v>
                </c:pt>
                <c:pt idx="452">
                  <c:v>4.0110000000000001</c:v>
                </c:pt>
                <c:pt idx="453">
                  <c:v>4.0359999999999996</c:v>
                </c:pt>
                <c:pt idx="454">
                  <c:v>4.028999999999999</c:v>
                </c:pt>
                <c:pt idx="455">
                  <c:v>4.0249999999999986</c:v>
                </c:pt>
                <c:pt idx="456">
                  <c:v>4.0369999999999999</c:v>
                </c:pt>
                <c:pt idx="457">
                  <c:v>4.0569999999999986</c:v>
                </c:pt>
                <c:pt idx="458">
                  <c:v>4.0869999999999997</c:v>
                </c:pt>
                <c:pt idx="459">
                  <c:v>4.0830000000000002</c:v>
                </c:pt>
                <c:pt idx="460">
                  <c:v>4.1269999999999989</c:v>
                </c:pt>
                <c:pt idx="461">
                  <c:v>4.2249999999999988</c:v>
                </c:pt>
                <c:pt idx="462">
                  <c:v>4.4189999999999996</c:v>
                </c:pt>
                <c:pt idx="463">
                  <c:v>4.5179999999999989</c:v>
                </c:pt>
                <c:pt idx="464">
                  <c:v>4.633</c:v>
                </c:pt>
                <c:pt idx="465">
                  <c:v>4.76</c:v>
                </c:pt>
                <c:pt idx="466">
                  <c:v>4.8490000000000002</c:v>
                </c:pt>
                <c:pt idx="467">
                  <c:v>4.851</c:v>
                </c:pt>
                <c:pt idx="468">
                  <c:v>4.8519999999999994</c:v>
                </c:pt>
                <c:pt idx="469">
                  <c:v>4.8449999999999989</c:v>
                </c:pt>
                <c:pt idx="470">
                  <c:v>4.7910000000000004</c:v>
                </c:pt>
                <c:pt idx="471">
                  <c:v>4.7239999999999993</c:v>
                </c:pt>
                <c:pt idx="472">
                  <c:v>4.6029999999999989</c:v>
                </c:pt>
                <c:pt idx="473">
                  <c:v>4.5759999999999996</c:v>
                </c:pt>
                <c:pt idx="474">
                  <c:v>4.5639999999999992</c:v>
                </c:pt>
                <c:pt idx="475">
                  <c:v>4.5510000000000002</c:v>
                </c:pt>
                <c:pt idx="476">
                  <c:v>4.5309999999999997</c:v>
                </c:pt>
                <c:pt idx="477">
                  <c:v>4.504999999999999</c:v>
                </c:pt>
                <c:pt idx="478">
                  <c:v>4.4509999999999996</c:v>
                </c:pt>
                <c:pt idx="479">
                  <c:v>4.4989999999999997</c:v>
                </c:pt>
                <c:pt idx="480">
                  <c:v>4.4809999999999999</c:v>
                </c:pt>
                <c:pt idx="481">
                  <c:v>4.4749999999999996</c:v>
                </c:pt>
                <c:pt idx="482">
                  <c:v>4.464999999999999</c:v>
                </c:pt>
                <c:pt idx="483">
                  <c:v>4.4829999999999997</c:v>
                </c:pt>
                <c:pt idx="484">
                  <c:v>4.47</c:v>
                </c:pt>
                <c:pt idx="485">
                  <c:v>4.395999999999999</c:v>
                </c:pt>
                <c:pt idx="486">
                  <c:v>4.3979999999999988</c:v>
                </c:pt>
                <c:pt idx="487">
                  <c:v>4.383</c:v>
                </c:pt>
                <c:pt idx="488">
                  <c:v>4.3860000000000001</c:v>
                </c:pt>
                <c:pt idx="489">
                  <c:v>4.3710000000000004</c:v>
                </c:pt>
                <c:pt idx="490">
                  <c:v>4.3730000000000002</c:v>
                </c:pt>
                <c:pt idx="491">
                  <c:v>4.37</c:v>
                </c:pt>
                <c:pt idx="492">
                  <c:v>4.355999999999999</c:v>
                </c:pt>
                <c:pt idx="493">
                  <c:v>4.3689999999999989</c:v>
                </c:pt>
                <c:pt idx="494">
                  <c:v>4.3609999999999989</c:v>
                </c:pt>
                <c:pt idx="495">
                  <c:v>4.351</c:v>
                </c:pt>
                <c:pt idx="496">
                  <c:v>4.347999999999999</c:v>
                </c:pt>
                <c:pt idx="497">
                  <c:v>4.3419999999999996</c:v>
                </c:pt>
                <c:pt idx="498">
                  <c:v>4.3419999999999996</c:v>
                </c:pt>
                <c:pt idx="499">
                  <c:v>4.3289999999999988</c:v>
                </c:pt>
                <c:pt idx="500">
                  <c:v>4.3259999999999987</c:v>
                </c:pt>
                <c:pt idx="501">
                  <c:v>4.319</c:v>
                </c:pt>
                <c:pt idx="502">
                  <c:v>4.306</c:v>
                </c:pt>
                <c:pt idx="503">
                  <c:v>4.3139999999999992</c:v>
                </c:pt>
                <c:pt idx="504">
                  <c:v>4.3219999999999992</c:v>
                </c:pt>
                <c:pt idx="505">
                  <c:v>4.347999999999999</c:v>
                </c:pt>
                <c:pt idx="506">
                  <c:v>4.375</c:v>
                </c:pt>
                <c:pt idx="507">
                  <c:v>4.4210000000000003</c:v>
                </c:pt>
                <c:pt idx="508">
                  <c:v>4.4809999999999999</c:v>
                </c:pt>
                <c:pt idx="509">
                  <c:v>4.4939999999999998</c:v>
                </c:pt>
                <c:pt idx="510">
                  <c:v>4.512999999999999</c:v>
                </c:pt>
                <c:pt idx="511">
                  <c:v>4.4050000000000002</c:v>
                </c:pt>
                <c:pt idx="512">
                  <c:v>4.4450000000000003</c:v>
                </c:pt>
                <c:pt idx="513">
                  <c:v>4.4539999999999997</c:v>
                </c:pt>
                <c:pt idx="514">
                  <c:v>4.4690000000000003</c:v>
                </c:pt>
                <c:pt idx="515">
                  <c:v>4.4770000000000003</c:v>
                </c:pt>
                <c:pt idx="516">
                  <c:v>4.4800000000000004</c:v>
                </c:pt>
                <c:pt idx="517">
                  <c:v>4.4859999999999998</c:v>
                </c:pt>
                <c:pt idx="518">
                  <c:v>4.4560000000000004</c:v>
                </c:pt>
                <c:pt idx="519">
                  <c:v>4.45</c:v>
                </c:pt>
                <c:pt idx="520">
                  <c:v>4.4530000000000003</c:v>
                </c:pt>
                <c:pt idx="521">
                  <c:v>4.4539999999999997</c:v>
                </c:pt>
                <c:pt idx="522">
                  <c:v>4.46</c:v>
                </c:pt>
                <c:pt idx="523">
                  <c:v>4.4809999999999999</c:v>
                </c:pt>
                <c:pt idx="524">
                  <c:v>4.4829999999999997</c:v>
                </c:pt>
                <c:pt idx="525">
                  <c:v>4.4889999999999999</c:v>
                </c:pt>
                <c:pt idx="526">
                  <c:v>4.4800000000000004</c:v>
                </c:pt>
                <c:pt idx="527">
                  <c:v>4.4820000000000002</c:v>
                </c:pt>
                <c:pt idx="528">
                  <c:v>4.520999999999999</c:v>
                </c:pt>
                <c:pt idx="529">
                  <c:v>4.5019999999999998</c:v>
                </c:pt>
                <c:pt idx="530">
                  <c:v>4.5249999999999986</c:v>
                </c:pt>
                <c:pt idx="531">
                  <c:v>4.5380000000000003</c:v>
                </c:pt>
                <c:pt idx="532">
                  <c:v>4.5419999999999998</c:v>
                </c:pt>
                <c:pt idx="533">
                  <c:v>4.54</c:v>
                </c:pt>
                <c:pt idx="534">
                  <c:v>4.5219999999999994</c:v>
                </c:pt>
                <c:pt idx="535">
                  <c:v>4.5190000000000001</c:v>
                </c:pt>
                <c:pt idx="536">
                  <c:v>4.5219999999999994</c:v>
                </c:pt>
                <c:pt idx="537">
                  <c:v>4.5030000000000001</c:v>
                </c:pt>
                <c:pt idx="538">
                  <c:v>4.4989999999999997</c:v>
                </c:pt>
                <c:pt idx="539">
                  <c:v>4.4989999999999997</c:v>
                </c:pt>
                <c:pt idx="540">
                  <c:v>4.4870000000000001</c:v>
                </c:pt>
                <c:pt idx="541">
                  <c:v>4.4930000000000003</c:v>
                </c:pt>
                <c:pt idx="542">
                  <c:v>4.4580000000000002</c:v>
                </c:pt>
                <c:pt idx="543">
                  <c:v>4.4569999999999999</c:v>
                </c:pt>
                <c:pt idx="544">
                  <c:v>4.45</c:v>
                </c:pt>
                <c:pt idx="545">
                  <c:v>4.427999999999999</c:v>
                </c:pt>
                <c:pt idx="546">
                  <c:v>4.4329999999999998</c:v>
                </c:pt>
                <c:pt idx="547">
                  <c:v>4.4329999999999998</c:v>
                </c:pt>
                <c:pt idx="548">
                  <c:v>4.452</c:v>
                </c:pt>
                <c:pt idx="549">
                  <c:v>4.468</c:v>
                </c:pt>
                <c:pt idx="550">
                  <c:v>4.4660000000000002</c:v>
                </c:pt>
                <c:pt idx="551">
                  <c:v>4.5019999999999998</c:v>
                </c:pt>
                <c:pt idx="552">
                  <c:v>4.492</c:v>
                </c:pt>
                <c:pt idx="553">
                  <c:v>4.4909999999999997</c:v>
                </c:pt>
                <c:pt idx="554">
                  <c:v>4.4809999999999999</c:v>
                </c:pt>
                <c:pt idx="555">
                  <c:v>4.4619999999999997</c:v>
                </c:pt>
                <c:pt idx="556">
                  <c:v>4.4619999999999997</c:v>
                </c:pt>
                <c:pt idx="557">
                  <c:v>4.4489999999999998</c:v>
                </c:pt>
                <c:pt idx="558">
                  <c:v>4.4409999999999998</c:v>
                </c:pt>
                <c:pt idx="559">
                  <c:v>4.4359999999999999</c:v>
                </c:pt>
                <c:pt idx="560">
                  <c:v>4.4109999999999996</c:v>
                </c:pt>
                <c:pt idx="561">
                  <c:v>4.387999999999999</c:v>
                </c:pt>
                <c:pt idx="562">
                  <c:v>4.3439999999999994</c:v>
                </c:pt>
                <c:pt idx="563">
                  <c:v>4.3109999999999991</c:v>
                </c:pt>
                <c:pt idx="564">
                  <c:v>4.2990000000000004</c:v>
                </c:pt>
                <c:pt idx="565">
                  <c:v>4.2880000000000003</c:v>
                </c:pt>
                <c:pt idx="566">
                  <c:v>4.2750000000000004</c:v>
                </c:pt>
                <c:pt idx="567">
                  <c:v>4.266</c:v>
                </c:pt>
                <c:pt idx="568">
                  <c:v>4.2530000000000001</c:v>
                </c:pt>
                <c:pt idx="569">
                  <c:v>4.2409999999999997</c:v>
                </c:pt>
                <c:pt idx="570">
                  <c:v>4.2359999999999998</c:v>
                </c:pt>
                <c:pt idx="571">
                  <c:v>4.2409999999999997</c:v>
                </c:pt>
                <c:pt idx="572">
                  <c:v>4.2530000000000001</c:v>
                </c:pt>
                <c:pt idx="573">
                  <c:v>4.26</c:v>
                </c:pt>
                <c:pt idx="574">
                  <c:v>4.2729999999999997</c:v>
                </c:pt>
                <c:pt idx="575">
                  <c:v>4.2839999999999998</c:v>
                </c:pt>
                <c:pt idx="576">
                  <c:v>4.2880000000000003</c:v>
                </c:pt>
                <c:pt idx="577">
                  <c:v>4.2960000000000003</c:v>
                </c:pt>
                <c:pt idx="578">
                  <c:v>4.2789999999999999</c:v>
                </c:pt>
                <c:pt idx="579">
                  <c:v>4.2519999999999998</c:v>
                </c:pt>
                <c:pt idx="580">
                  <c:v>4.2380000000000004</c:v>
                </c:pt>
                <c:pt idx="581">
                  <c:v>4.2389999999999999</c:v>
                </c:pt>
                <c:pt idx="582">
                  <c:v>4.2290000000000001</c:v>
                </c:pt>
                <c:pt idx="583">
                  <c:v>4.202</c:v>
                </c:pt>
                <c:pt idx="584">
                  <c:v>4.2039999999999997</c:v>
                </c:pt>
                <c:pt idx="585">
                  <c:v>4.1849999999999987</c:v>
                </c:pt>
                <c:pt idx="586">
                  <c:v>4.1659999999999986</c:v>
                </c:pt>
                <c:pt idx="587">
                  <c:v>4.1319999999999997</c:v>
                </c:pt>
                <c:pt idx="588">
                  <c:v>4.0999999999999996</c:v>
                </c:pt>
                <c:pt idx="589">
                  <c:v>4.08</c:v>
                </c:pt>
                <c:pt idx="590">
                  <c:v>4.0469999999999997</c:v>
                </c:pt>
                <c:pt idx="591">
                  <c:v>4.0199999999999996</c:v>
                </c:pt>
                <c:pt idx="592">
                  <c:v>4.012999999999999</c:v>
                </c:pt>
                <c:pt idx="593">
                  <c:v>4.012999999999999</c:v>
                </c:pt>
                <c:pt idx="594">
                  <c:v>4.016</c:v>
                </c:pt>
                <c:pt idx="595">
                  <c:v>4.0239999999999991</c:v>
                </c:pt>
                <c:pt idx="596">
                  <c:v>4.0330000000000004</c:v>
                </c:pt>
                <c:pt idx="597">
                  <c:v>4.0469999999999997</c:v>
                </c:pt>
                <c:pt idx="598">
                  <c:v>4.0439999999999996</c:v>
                </c:pt>
                <c:pt idx="599">
                  <c:v>4.0460000000000003</c:v>
                </c:pt>
                <c:pt idx="600">
                  <c:v>4.044999999999999</c:v>
                </c:pt>
                <c:pt idx="601">
                  <c:v>4.0430000000000001</c:v>
                </c:pt>
                <c:pt idx="602">
                  <c:v>4.0339999999999998</c:v>
                </c:pt>
                <c:pt idx="603">
                  <c:v>4.0179999999999989</c:v>
                </c:pt>
                <c:pt idx="604">
                  <c:v>4.0060000000000002</c:v>
                </c:pt>
                <c:pt idx="605">
                  <c:v>3.98</c:v>
                </c:pt>
                <c:pt idx="606">
                  <c:v>3.9460000000000002</c:v>
                </c:pt>
                <c:pt idx="607">
                  <c:v>3.8980000000000001</c:v>
                </c:pt>
                <c:pt idx="608">
                  <c:v>3.8530000000000002</c:v>
                </c:pt>
                <c:pt idx="609">
                  <c:v>3.714</c:v>
                </c:pt>
                <c:pt idx="610">
                  <c:v>3.673</c:v>
                </c:pt>
                <c:pt idx="611">
                  <c:v>3.641</c:v>
                </c:pt>
                <c:pt idx="612">
                  <c:v>3.6259999999999999</c:v>
                </c:pt>
                <c:pt idx="613">
                  <c:v>3.5950000000000002</c:v>
                </c:pt>
                <c:pt idx="614">
                  <c:v>3.5409999999999999</c:v>
                </c:pt>
                <c:pt idx="615">
                  <c:v>3.51</c:v>
                </c:pt>
                <c:pt idx="616">
                  <c:v>3.4830000000000001</c:v>
                </c:pt>
                <c:pt idx="617">
                  <c:v>3.4609999999999999</c:v>
                </c:pt>
                <c:pt idx="618">
                  <c:v>3.4350000000000001</c:v>
                </c:pt>
                <c:pt idx="619">
                  <c:v>3.4260000000000002</c:v>
                </c:pt>
                <c:pt idx="620">
                  <c:v>3.4060000000000001</c:v>
                </c:pt>
                <c:pt idx="621">
                  <c:v>3.4049999999999998</c:v>
                </c:pt>
                <c:pt idx="622">
                  <c:v>3.4089999999999998</c:v>
                </c:pt>
                <c:pt idx="623">
                  <c:v>3.415</c:v>
                </c:pt>
                <c:pt idx="624">
                  <c:v>3.42</c:v>
                </c:pt>
                <c:pt idx="625">
                  <c:v>3.42</c:v>
                </c:pt>
                <c:pt idx="626">
                  <c:v>3.4209999999999998</c:v>
                </c:pt>
                <c:pt idx="627">
                  <c:v>3.431</c:v>
                </c:pt>
                <c:pt idx="628">
                  <c:v>3.4689999999999999</c:v>
                </c:pt>
                <c:pt idx="629">
                  <c:v>3.4670000000000001</c:v>
                </c:pt>
                <c:pt idx="630">
                  <c:v>3.4620000000000002</c:v>
                </c:pt>
                <c:pt idx="631">
                  <c:v>3.4559999999999991</c:v>
                </c:pt>
                <c:pt idx="632">
                  <c:v>3.444</c:v>
                </c:pt>
                <c:pt idx="633">
                  <c:v>3.4350000000000001</c:v>
                </c:pt>
                <c:pt idx="634">
                  <c:v>3.3809999999999998</c:v>
                </c:pt>
                <c:pt idx="635">
                  <c:v>3.3650000000000002</c:v>
                </c:pt>
                <c:pt idx="636">
                  <c:v>3.351999999999999</c:v>
                </c:pt>
                <c:pt idx="637">
                  <c:v>3.3589999999999991</c:v>
                </c:pt>
                <c:pt idx="638">
                  <c:v>3.3389999999999991</c:v>
                </c:pt>
                <c:pt idx="639">
                  <c:v>3.3330000000000002</c:v>
                </c:pt>
                <c:pt idx="640">
                  <c:v>3.323</c:v>
                </c:pt>
                <c:pt idx="641">
                  <c:v>3.3180000000000001</c:v>
                </c:pt>
                <c:pt idx="642">
                  <c:v>3.3069999999999991</c:v>
                </c:pt>
                <c:pt idx="643">
                  <c:v>3.282</c:v>
                </c:pt>
                <c:pt idx="644">
                  <c:v>3.2629999999999999</c:v>
                </c:pt>
                <c:pt idx="645">
                  <c:v>3.2360000000000002</c:v>
                </c:pt>
                <c:pt idx="646">
                  <c:v>3.2349999999999999</c:v>
                </c:pt>
                <c:pt idx="647">
                  <c:v>3.238</c:v>
                </c:pt>
                <c:pt idx="648">
                  <c:v>3.2370000000000001</c:v>
                </c:pt>
                <c:pt idx="649">
                  <c:v>3.2320000000000002</c:v>
                </c:pt>
                <c:pt idx="650">
                  <c:v>3.2240000000000002</c:v>
                </c:pt>
                <c:pt idx="651">
                  <c:v>3.238</c:v>
                </c:pt>
                <c:pt idx="652">
                  <c:v>3.2490000000000001</c:v>
                </c:pt>
                <c:pt idx="653">
                  <c:v>3.24</c:v>
                </c:pt>
                <c:pt idx="654">
                  <c:v>3.2410000000000001</c:v>
                </c:pt>
                <c:pt idx="655">
                  <c:v>3.2480000000000002</c:v>
                </c:pt>
                <c:pt idx="656">
                  <c:v>3.2480000000000002</c:v>
                </c:pt>
                <c:pt idx="657">
                  <c:v>3.274</c:v>
                </c:pt>
                <c:pt idx="658">
                  <c:v>3.2559999999999998</c:v>
                </c:pt>
                <c:pt idx="659">
                  <c:v>3.2530000000000001</c:v>
                </c:pt>
                <c:pt idx="660">
                  <c:v>3.246</c:v>
                </c:pt>
                <c:pt idx="661">
                  <c:v>3.2370000000000001</c:v>
                </c:pt>
                <c:pt idx="662">
                  <c:v>3.23</c:v>
                </c:pt>
                <c:pt idx="663">
                  <c:v>3.2080000000000002</c:v>
                </c:pt>
                <c:pt idx="664">
                  <c:v>3.2480000000000002</c:v>
                </c:pt>
                <c:pt idx="665">
                  <c:v>3.26</c:v>
                </c:pt>
                <c:pt idx="666">
                  <c:v>3.262</c:v>
                </c:pt>
                <c:pt idx="667">
                  <c:v>3.2589999999999999</c:v>
                </c:pt>
                <c:pt idx="668">
                  <c:v>3.254</c:v>
                </c:pt>
                <c:pt idx="669">
                  <c:v>3.238</c:v>
                </c:pt>
                <c:pt idx="670">
                  <c:v>3.1920000000000002</c:v>
                </c:pt>
                <c:pt idx="671">
                  <c:v>3.177</c:v>
                </c:pt>
                <c:pt idx="672">
                  <c:v>3.258</c:v>
                </c:pt>
                <c:pt idx="673">
                  <c:v>3.2490000000000001</c:v>
                </c:pt>
                <c:pt idx="674">
                  <c:v>3.2610000000000001</c:v>
                </c:pt>
                <c:pt idx="675">
                  <c:v>3.2730000000000001</c:v>
                </c:pt>
                <c:pt idx="676">
                  <c:v>3.2839999999999998</c:v>
                </c:pt>
                <c:pt idx="677">
                  <c:v>3.3010000000000002</c:v>
                </c:pt>
                <c:pt idx="678">
                  <c:v>3.2170000000000001</c:v>
                </c:pt>
                <c:pt idx="679">
                  <c:v>3.246</c:v>
                </c:pt>
                <c:pt idx="680">
                  <c:v>3.2320000000000002</c:v>
                </c:pt>
                <c:pt idx="681">
                  <c:v>3.2120000000000002</c:v>
                </c:pt>
                <c:pt idx="682">
                  <c:v>3.214</c:v>
                </c:pt>
                <c:pt idx="683">
                  <c:v>3.1920000000000002</c:v>
                </c:pt>
                <c:pt idx="684">
                  <c:v>3.18</c:v>
                </c:pt>
                <c:pt idx="685">
                  <c:v>3.1619999999999999</c:v>
                </c:pt>
                <c:pt idx="686">
                  <c:v>3.1619999999999999</c:v>
                </c:pt>
                <c:pt idx="687">
                  <c:v>3.1469999999999998</c:v>
                </c:pt>
                <c:pt idx="688">
                  <c:v>3.117</c:v>
                </c:pt>
                <c:pt idx="689">
                  <c:v>3.1080000000000001</c:v>
                </c:pt>
                <c:pt idx="690">
                  <c:v>3.0670000000000002</c:v>
                </c:pt>
                <c:pt idx="691">
                  <c:v>3.0459999999999998</c:v>
                </c:pt>
                <c:pt idx="692">
                  <c:v>3.016999999999999</c:v>
                </c:pt>
                <c:pt idx="693">
                  <c:v>2.9990000000000001</c:v>
                </c:pt>
                <c:pt idx="694">
                  <c:v>2.9580000000000002</c:v>
                </c:pt>
                <c:pt idx="695">
                  <c:v>3.133</c:v>
                </c:pt>
                <c:pt idx="696">
                  <c:v>3.1280000000000001</c:v>
                </c:pt>
                <c:pt idx="697">
                  <c:v>3.17</c:v>
                </c:pt>
                <c:pt idx="698">
                  <c:v>3.1709999999999998</c:v>
                </c:pt>
                <c:pt idx="699">
                  <c:v>3.1709999999999998</c:v>
                </c:pt>
                <c:pt idx="700">
                  <c:v>3.1869999999999998</c:v>
                </c:pt>
                <c:pt idx="701">
                  <c:v>3.0110000000000001</c:v>
                </c:pt>
                <c:pt idx="702">
                  <c:v>3.0179999999999998</c:v>
                </c:pt>
                <c:pt idx="703">
                  <c:v>2.976999999999999</c:v>
                </c:pt>
                <c:pt idx="704">
                  <c:v>3.028</c:v>
                </c:pt>
                <c:pt idx="705">
                  <c:v>3.0289999999999999</c:v>
                </c:pt>
                <c:pt idx="706">
                  <c:v>3.0249999999999999</c:v>
                </c:pt>
                <c:pt idx="707">
                  <c:v>3.0209999999999999</c:v>
                </c:pt>
                <c:pt idx="708">
                  <c:v>3.024</c:v>
                </c:pt>
                <c:pt idx="709">
                  <c:v>3.0110000000000001</c:v>
                </c:pt>
                <c:pt idx="710">
                  <c:v>2.956999999999999</c:v>
                </c:pt>
                <c:pt idx="711">
                  <c:v>2.944</c:v>
                </c:pt>
                <c:pt idx="712">
                  <c:v>2.9289999999999998</c:v>
                </c:pt>
                <c:pt idx="713">
                  <c:v>2.93</c:v>
                </c:pt>
                <c:pt idx="714">
                  <c:v>2.9089999999999998</c:v>
                </c:pt>
                <c:pt idx="715">
                  <c:v>2.887</c:v>
                </c:pt>
                <c:pt idx="716">
                  <c:v>2.879</c:v>
                </c:pt>
                <c:pt idx="717">
                  <c:v>2.899</c:v>
                </c:pt>
                <c:pt idx="718">
                  <c:v>2.895</c:v>
                </c:pt>
                <c:pt idx="719">
                  <c:v>2.8809999999999998</c:v>
                </c:pt>
                <c:pt idx="720">
                  <c:v>2.887</c:v>
                </c:pt>
                <c:pt idx="721">
                  <c:v>2.883</c:v>
                </c:pt>
                <c:pt idx="722">
                  <c:v>2.899</c:v>
                </c:pt>
                <c:pt idx="723">
                  <c:v>2.915</c:v>
                </c:pt>
                <c:pt idx="724">
                  <c:v>2.8940000000000001</c:v>
                </c:pt>
                <c:pt idx="725">
                  <c:v>2.8860000000000001</c:v>
                </c:pt>
                <c:pt idx="726">
                  <c:v>2.871</c:v>
                </c:pt>
                <c:pt idx="727">
                  <c:v>2.8490000000000002</c:v>
                </c:pt>
                <c:pt idx="728">
                  <c:v>2.8279999999999998</c:v>
                </c:pt>
                <c:pt idx="729">
                  <c:v>2.79</c:v>
                </c:pt>
                <c:pt idx="730">
                  <c:v>2.8050000000000002</c:v>
                </c:pt>
                <c:pt idx="731">
                  <c:v>2.8250000000000002</c:v>
                </c:pt>
                <c:pt idx="732">
                  <c:v>2.8220000000000001</c:v>
                </c:pt>
                <c:pt idx="733">
                  <c:v>2.8159999999999989</c:v>
                </c:pt>
                <c:pt idx="734">
                  <c:v>2.8130000000000002</c:v>
                </c:pt>
                <c:pt idx="735">
                  <c:v>2.798</c:v>
                </c:pt>
                <c:pt idx="736">
                  <c:v>2.778</c:v>
                </c:pt>
                <c:pt idx="737">
                  <c:v>2.7559999999999998</c:v>
                </c:pt>
                <c:pt idx="738">
                  <c:v>2.7559999999999998</c:v>
                </c:pt>
                <c:pt idx="739">
                  <c:v>2.7549999999999999</c:v>
                </c:pt>
                <c:pt idx="740">
                  <c:v>2.738</c:v>
                </c:pt>
                <c:pt idx="741">
                  <c:v>2.7330000000000001</c:v>
                </c:pt>
                <c:pt idx="742">
                  <c:v>2.76</c:v>
                </c:pt>
                <c:pt idx="743">
                  <c:v>2.76</c:v>
                </c:pt>
                <c:pt idx="744">
                  <c:v>2.7559999999999998</c:v>
                </c:pt>
                <c:pt idx="745">
                  <c:v>2.7549999999999999</c:v>
                </c:pt>
                <c:pt idx="746">
                  <c:v>2.7789999999999999</c:v>
                </c:pt>
                <c:pt idx="747">
                  <c:v>2.7810000000000001</c:v>
                </c:pt>
                <c:pt idx="748">
                  <c:v>2.7589999999999999</c:v>
                </c:pt>
                <c:pt idx="749">
                  <c:v>2.7530000000000001</c:v>
                </c:pt>
                <c:pt idx="750">
                  <c:v>2.754</c:v>
                </c:pt>
                <c:pt idx="751">
                  <c:v>2.7559999999999998</c:v>
                </c:pt>
                <c:pt idx="752">
                  <c:v>2.8050000000000002</c:v>
                </c:pt>
                <c:pt idx="753">
                  <c:v>2.8050000000000002</c:v>
                </c:pt>
                <c:pt idx="754">
                  <c:v>2.8</c:v>
                </c:pt>
                <c:pt idx="755">
                  <c:v>2.802</c:v>
                </c:pt>
                <c:pt idx="756">
                  <c:v>2.798</c:v>
                </c:pt>
                <c:pt idx="757">
                  <c:v>2.7930000000000001</c:v>
                </c:pt>
                <c:pt idx="758">
                  <c:v>2.726</c:v>
                </c:pt>
                <c:pt idx="759">
                  <c:v>2.72</c:v>
                </c:pt>
                <c:pt idx="760">
                  <c:v>2.714</c:v>
                </c:pt>
                <c:pt idx="761">
                  <c:v>2.7069999999999999</c:v>
                </c:pt>
                <c:pt idx="762">
                  <c:v>2.7050000000000001</c:v>
                </c:pt>
                <c:pt idx="763">
                  <c:v>2.702</c:v>
                </c:pt>
                <c:pt idx="764">
                  <c:v>2.6989999999999998</c:v>
                </c:pt>
                <c:pt idx="765">
                  <c:v>2.7149999999999999</c:v>
                </c:pt>
                <c:pt idx="766">
                  <c:v>2.7130000000000001</c:v>
                </c:pt>
                <c:pt idx="767">
                  <c:v>2.7029999999999998</c:v>
                </c:pt>
                <c:pt idx="768">
                  <c:v>2.6880000000000002</c:v>
                </c:pt>
                <c:pt idx="769">
                  <c:v>2.6760000000000002</c:v>
                </c:pt>
                <c:pt idx="770">
                  <c:v>2.6640000000000001</c:v>
                </c:pt>
                <c:pt idx="771">
                  <c:v>2.6680000000000001</c:v>
                </c:pt>
                <c:pt idx="772">
                  <c:v>2.681</c:v>
                </c:pt>
                <c:pt idx="773">
                  <c:v>2.6890000000000001</c:v>
                </c:pt>
                <c:pt idx="774">
                  <c:v>2.6850000000000001</c:v>
                </c:pt>
                <c:pt idx="775">
                  <c:v>2.6970000000000001</c:v>
                </c:pt>
                <c:pt idx="776">
                  <c:v>2.6970000000000001</c:v>
                </c:pt>
                <c:pt idx="777">
                  <c:v>2.6960000000000002</c:v>
                </c:pt>
                <c:pt idx="778">
                  <c:v>2.7130000000000001</c:v>
                </c:pt>
                <c:pt idx="779">
                  <c:v>2.6989999999999998</c:v>
                </c:pt>
                <c:pt idx="780">
                  <c:v>2.7029999999999998</c:v>
                </c:pt>
                <c:pt idx="781">
                  <c:v>2.7330000000000001</c:v>
                </c:pt>
                <c:pt idx="782">
                  <c:v>2.7240000000000002</c:v>
                </c:pt>
                <c:pt idx="783">
                  <c:v>2.7109999999999999</c:v>
                </c:pt>
                <c:pt idx="784">
                  <c:v>2.6789999999999998</c:v>
                </c:pt>
                <c:pt idx="785">
                  <c:v>2.7010000000000001</c:v>
                </c:pt>
                <c:pt idx="786">
                  <c:v>2.6920000000000002</c:v>
                </c:pt>
                <c:pt idx="787">
                  <c:v>2.6680000000000001</c:v>
                </c:pt>
                <c:pt idx="788">
                  <c:v>2.673</c:v>
                </c:pt>
                <c:pt idx="789">
                  <c:v>2.6859999999999999</c:v>
                </c:pt>
                <c:pt idx="790">
                  <c:v>2.6880000000000002</c:v>
                </c:pt>
                <c:pt idx="791">
                  <c:v>2.6680000000000001</c:v>
                </c:pt>
                <c:pt idx="792">
                  <c:v>2.6720000000000002</c:v>
                </c:pt>
                <c:pt idx="793">
                  <c:v>2.6619999999999999</c:v>
                </c:pt>
                <c:pt idx="794">
                  <c:v>2.6629999999999998</c:v>
                </c:pt>
                <c:pt idx="795">
                  <c:v>2.66</c:v>
                </c:pt>
                <c:pt idx="796">
                  <c:v>2.6589999999999998</c:v>
                </c:pt>
                <c:pt idx="797">
                  <c:v>2.6360000000000001</c:v>
                </c:pt>
                <c:pt idx="798">
                  <c:v>2.6869999999999998</c:v>
                </c:pt>
                <c:pt idx="799">
                  <c:v>2.7050000000000001</c:v>
                </c:pt>
                <c:pt idx="800">
                  <c:v>2.6949999999999998</c:v>
                </c:pt>
                <c:pt idx="801">
                  <c:v>2.6850000000000001</c:v>
                </c:pt>
                <c:pt idx="802">
                  <c:v>2.673</c:v>
                </c:pt>
                <c:pt idx="803">
                  <c:v>2.66</c:v>
                </c:pt>
                <c:pt idx="804">
                  <c:v>2.5990000000000002</c:v>
                </c:pt>
                <c:pt idx="805">
                  <c:v>2.5790000000000002</c:v>
                </c:pt>
                <c:pt idx="806">
                  <c:v>2.58</c:v>
                </c:pt>
                <c:pt idx="807">
                  <c:v>2.577</c:v>
                </c:pt>
                <c:pt idx="808">
                  <c:v>2.5779999999999998</c:v>
                </c:pt>
                <c:pt idx="809">
                  <c:v>2.5750000000000002</c:v>
                </c:pt>
                <c:pt idx="810">
                  <c:v>2.5739999999999998</c:v>
                </c:pt>
                <c:pt idx="811">
                  <c:v>2.5659999999999998</c:v>
                </c:pt>
                <c:pt idx="812">
                  <c:v>2.56</c:v>
                </c:pt>
                <c:pt idx="813">
                  <c:v>2.56</c:v>
                </c:pt>
                <c:pt idx="814">
                  <c:v>2.5550000000000002</c:v>
                </c:pt>
                <c:pt idx="815">
                  <c:v>2.5619999999999998</c:v>
                </c:pt>
                <c:pt idx="816">
                  <c:v>2.556</c:v>
                </c:pt>
                <c:pt idx="817">
                  <c:v>2.5609999999999999</c:v>
                </c:pt>
                <c:pt idx="818">
                  <c:v>2.5659999999999998</c:v>
                </c:pt>
                <c:pt idx="819">
                  <c:v>2.5739999999999998</c:v>
                </c:pt>
                <c:pt idx="820">
                  <c:v>2.5760000000000001</c:v>
                </c:pt>
                <c:pt idx="821">
                  <c:v>2.569</c:v>
                </c:pt>
                <c:pt idx="822">
                  <c:v>2.569</c:v>
                </c:pt>
                <c:pt idx="823">
                  <c:v>2.5590000000000002</c:v>
                </c:pt>
                <c:pt idx="824">
                  <c:v>2.5499999999999998</c:v>
                </c:pt>
                <c:pt idx="825">
                  <c:v>2.5459999999999998</c:v>
                </c:pt>
                <c:pt idx="826">
                  <c:v>2.5419999999999998</c:v>
                </c:pt>
                <c:pt idx="827">
                  <c:v>2.5459999999999998</c:v>
                </c:pt>
                <c:pt idx="828">
                  <c:v>2.544</c:v>
                </c:pt>
                <c:pt idx="829">
                  <c:v>2.5459999999999998</c:v>
                </c:pt>
                <c:pt idx="830">
                  <c:v>2.5430000000000001</c:v>
                </c:pt>
                <c:pt idx="831">
                  <c:v>2.544</c:v>
                </c:pt>
                <c:pt idx="832">
                  <c:v>2.544</c:v>
                </c:pt>
                <c:pt idx="833">
                  <c:v>2.54</c:v>
                </c:pt>
                <c:pt idx="834">
                  <c:v>2.5299999999999998</c:v>
                </c:pt>
                <c:pt idx="835">
                  <c:v>2.5219999999999998</c:v>
                </c:pt>
                <c:pt idx="836">
                  <c:v>2.5179999999999998</c:v>
                </c:pt>
                <c:pt idx="837">
                  <c:v>2.504</c:v>
                </c:pt>
                <c:pt idx="838">
                  <c:v>2.5</c:v>
                </c:pt>
                <c:pt idx="839">
                  <c:v>2.4790000000000001</c:v>
                </c:pt>
                <c:pt idx="840">
                  <c:v>2.472999999999999</c:v>
                </c:pt>
                <c:pt idx="841">
                  <c:v>2.4889999999999999</c:v>
                </c:pt>
                <c:pt idx="842">
                  <c:v>2.4870000000000001</c:v>
                </c:pt>
                <c:pt idx="843">
                  <c:v>2.4889999999999999</c:v>
                </c:pt>
                <c:pt idx="844">
                  <c:v>2.5099999999999998</c:v>
                </c:pt>
                <c:pt idx="845">
                  <c:v>2.504</c:v>
                </c:pt>
                <c:pt idx="846">
                  <c:v>2.5099999999999998</c:v>
                </c:pt>
                <c:pt idx="847">
                  <c:v>2.496999999999999</c:v>
                </c:pt>
                <c:pt idx="848">
                  <c:v>2.4950000000000001</c:v>
                </c:pt>
                <c:pt idx="849">
                  <c:v>2.4860000000000002</c:v>
                </c:pt>
                <c:pt idx="850">
                  <c:v>2.492999999999999</c:v>
                </c:pt>
                <c:pt idx="851">
                  <c:v>2.4860000000000002</c:v>
                </c:pt>
                <c:pt idx="852">
                  <c:v>2.4860000000000002</c:v>
                </c:pt>
                <c:pt idx="853">
                  <c:v>2.4790000000000001</c:v>
                </c:pt>
                <c:pt idx="854">
                  <c:v>2.476</c:v>
                </c:pt>
                <c:pt idx="855">
                  <c:v>2.4790000000000001</c:v>
                </c:pt>
                <c:pt idx="856">
                  <c:v>2.4590000000000001</c:v>
                </c:pt>
                <c:pt idx="857">
                  <c:v>2.452999999999999</c:v>
                </c:pt>
                <c:pt idx="858">
                  <c:v>2.4609999999999999</c:v>
                </c:pt>
                <c:pt idx="859">
                  <c:v>2.456999999999999</c:v>
                </c:pt>
                <c:pt idx="860">
                  <c:v>2.4670000000000001</c:v>
                </c:pt>
                <c:pt idx="861">
                  <c:v>2.4609999999999999</c:v>
                </c:pt>
                <c:pt idx="862">
                  <c:v>2.4630000000000001</c:v>
                </c:pt>
                <c:pt idx="863">
                  <c:v>2.4390000000000001</c:v>
                </c:pt>
                <c:pt idx="864">
                  <c:v>2.4460000000000002</c:v>
                </c:pt>
                <c:pt idx="865">
                  <c:v>2.4350000000000001</c:v>
                </c:pt>
                <c:pt idx="866">
                  <c:v>2.4340000000000002</c:v>
                </c:pt>
                <c:pt idx="867">
                  <c:v>2.4289999999999998</c:v>
                </c:pt>
                <c:pt idx="868">
                  <c:v>2.4300000000000002</c:v>
                </c:pt>
                <c:pt idx="869">
                  <c:v>2.4340000000000002</c:v>
                </c:pt>
                <c:pt idx="870">
                  <c:v>2.4249999999999998</c:v>
                </c:pt>
                <c:pt idx="871">
                  <c:v>2.4249999999999998</c:v>
                </c:pt>
                <c:pt idx="872">
                  <c:v>2.4239999999999999</c:v>
                </c:pt>
                <c:pt idx="873">
                  <c:v>2.4369999999999989</c:v>
                </c:pt>
                <c:pt idx="874">
                  <c:v>2.4340000000000002</c:v>
                </c:pt>
                <c:pt idx="875">
                  <c:v>2.44</c:v>
                </c:pt>
                <c:pt idx="876">
                  <c:v>2.444</c:v>
                </c:pt>
                <c:pt idx="877">
                  <c:v>2.4540000000000002</c:v>
                </c:pt>
                <c:pt idx="878">
                  <c:v>2.4550000000000001</c:v>
                </c:pt>
                <c:pt idx="879">
                  <c:v>2.4430000000000001</c:v>
                </c:pt>
                <c:pt idx="880">
                  <c:v>2.444</c:v>
                </c:pt>
                <c:pt idx="881">
                  <c:v>2.4369999999999989</c:v>
                </c:pt>
                <c:pt idx="882">
                  <c:v>2.4420000000000002</c:v>
                </c:pt>
                <c:pt idx="883">
                  <c:v>2.4319999999999991</c:v>
                </c:pt>
                <c:pt idx="884">
                  <c:v>2.4329999999999989</c:v>
                </c:pt>
                <c:pt idx="885">
                  <c:v>2.4340000000000002</c:v>
                </c:pt>
                <c:pt idx="886">
                  <c:v>2.4390000000000001</c:v>
                </c:pt>
                <c:pt idx="887">
                  <c:v>2.4390000000000001</c:v>
                </c:pt>
                <c:pt idx="888">
                  <c:v>2.4329999999999989</c:v>
                </c:pt>
                <c:pt idx="889">
                  <c:v>2.4359999999999991</c:v>
                </c:pt>
                <c:pt idx="890">
                  <c:v>2.4380000000000002</c:v>
                </c:pt>
                <c:pt idx="891">
                  <c:v>2.44</c:v>
                </c:pt>
                <c:pt idx="892">
                  <c:v>2.4409999999999998</c:v>
                </c:pt>
                <c:pt idx="893">
                  <c:v>2.448</c:v>
                </c:pt>
                <c:pt idx="894">
                  <c:v>2.4489999999999998</c:v>
                </c:pt>
                <c:pt idx="895">
                  <c:v>2.448</c:v>
                </c:pt>
                <c:pt idx="896">
                  <c:v>2.4790000000000001</c:v>
                </c:pt>
                <c:pt idx="897">
                  <c:v>2.4780000000000002</c:v>
                </c:pt>
                <c:pt idx="898">
                  <c:v>2.48</c:v>
                </c:pt>
                <c:pt idx="899">
                  <c:v>2.4820000000000002</c:v>
                </c:pt>
                <c:pt idx="900">
                  <c:v>2.484</c:v>
                </c:pt>
                <c:pt idx="901">
                  <c:v>2.4860000000000002</c:v>
                </c:pt>
                <c:pt idx="902">
                  <c:v>2.4550000000000001</c:v>
                </c:pt>
                <c:pt idx="903">
                  <c:v>2.4519999999999991</c:v>
                </c:pt>
                <c:pt idx="904">
                  <c:v>2.4510000000000001</c:v>
                </c:pt>
                <c:pt idx="905">
                  <c:v>2.4470000000000001</c:v>
                </c:pt>
                <c:pt idx="906">
                  <c:v>2.444</c:v>
                </c:pt>
                <c:pt idx="907">
                  <c:v>2.4420000000000002</c:v>
                </c:pt>
                <c:pt idx="908">
                  <c:v>2.4409999999999998</c:v>
                </c:pt>
                <c:pt idx="909">
                  <c:v>2.4369999999999989</c:v>
                </c:pt>
                <c:pt idx="910">
                  <c:v>2.4369999999999989</c:v>
                </c:pt>
                <c:pt idx="911">
                  <c:v>2.4369999999999989</c:v>
                </c:pt>
                <c:pt idx="912">
                  <c:v>2.4350000000000001</c:v>
                </c:pt>
                <c:pt idx="913">
                  <c:v>2.4319999999999991</c:v>
                </c:pt>
                <c:pt idx="914">
                  <c:v>2.4279999999999999</c:v>
                </c:pt>
                <c:pt idx="915">
                  <c:v>2.4260000000000002</c:v>
                </c:pt>
                <c:pt idx="916">
                  <c:v>2.4260000000000002</c:v>
                </c:pt>
                <c:pt idx="917">
                  <c:v>2.4329999999999989</c:v>
                </c:pt>
                <c:pt idx="918">
                  <c:v>2.4390000000000001</c:v>
                </c:pt>
                <c:pt idx="919">
                  <c:v>2.4420000000000002</c:v>
                </c:pt>
                <c:pt idx="920">
                  <c:v>2.4409999999999998</c:v>
                </c:pt>
                <c:pt idx="921">
                  <c:v>2.4390000000000001</c:v>
                </c:pt>
                <c:pt idx="922">
                  <c:v>2.4359999999999991</c:v>
                </c:pt>
                <c:pt idx="923">
                  <c:v>2.4300000000000002</c:v>
                </c:pt>
                <c:pt idx="924">
                  <c:v>2.4239999999999999</c:v>
                </c:pt>
                <c:pt idx="925">
                  <c:v>2.4409999999999998</c:v>
                </c:pt>
                <c:pt idx="926">
                  <c:v>2.4369999999999989</c:v>
                </c:pt>
                <c:pt idx="927">
                  <c:v>2.4380000000000002</c:v>
                </c:pt>
                <c:pt idx="928">
                  <c:v>2.4359999999999991</c:v>
                </c:pt>
                <c:pt idx="929">
                  <c:v>2.4279999999999999</c:v>
                </c:pt>
                <c:pt idx="930">
                  <c:v>2.4239999999999999</c:v>
                </c:pt>
                <c:pt idx="931">
                  <c:v>2.4009999999999998</c:v>
                </c:pt>
                <c:pt idx="932">
                  <c:v>2.3929999999999989</c:v>
                </c:pt>
                <c:pt idx="933">
                  <c:v>2.3879999999999999</c:v>
                </c:pt>
                <c:pt idx="934">
                  <c:v>2.3839999999999999</c:v>
                </c:pt>
                <c:pt idx="935">
                  <c:v>2.3780000000000001</c:v>
                </c:pt>
                <c:pt idx="936">
                  <c:v>2.375999999999999</c:v>
                </c:pt>
                <c:pt idx="937">
                  <c:v>2.371999999999999</c:v>
                </c:pt>
                <c:pt idx="938">
                  <c:v>2.37</c:v>
                </c:pt>
                <c:pt idx="939">
                  <c:v>2.3679999999999999</c:v>
                </c:pt>
                <c:pt idx="940">
                  <c:v>2.367</c:v>
                </c:pt>
                <c:pt idx="941">
                  <c:v>2.3740000000000001</c:v>
                </c:pt>
                <c:pt idx="942">
                  <c:v>2.375</c:v>
                </c:pt>
                <c:pt idx="943">
                  <c:v>2.3740000000000001</c:v>
                </c:pt>
                <c:pt idx="944">
                  <c:v>2.371999999999999</c:v>
                </c:pt>
                <c:pt idx="945">
                  <c:v>2.371999999999999</c:v>
                </c:pt>
                <c:pt idx="946">
                  <c:v>2.371</c:v>
                </c:pt>
                <c:pt idx="947">
                  <c:v>2.3639999999999999</c:v>
                </c:pt>
                <c:pt idx="948">
                  <c:v>2.3610000000000002</c:v>
                </c:pt>
                <c:pt idx="949">
                  <c:v>2.3620000000000001</c:v>
                </c:pt>
                <c:pt idx="950">
                  <c:v>2.3570000000000002</c:v>
                </c:pt>
                <c:pt idx="951">
                  <c:v>2.3589999999999991</c:v>
                </c:pt>
                <c:pt idx="952">
                  <c:v>2.3690000000000002</c:v>
                </c:pt>
                <c:pt idx="953">
                  <c:v>2.3660000000000001</c:v>
                </c:pt>
                <c:pt idx="954">
                  <c:v>2.367</c:v>
                </c:pt>
                <c:pt idx="955">
                  <c:v>2.363</c:v>
                </c:pt>
                <c:pt idx="956">
                  <c:v>2.3589999999999991</c:v>
                </c:pt>
                <c:pt idx="957">
                  <c:v>2.3509999999999991</c:v>
                </c:pt>
                <c:pt idx="958">
                  <c:v>2.3540000000000001</c:v>
                </c:pt>
                <c:pt idx="959">
                  <c:v>2.3530000000000002</c:v>
                </c:pt>
                <c:pt idx="960">
                  <c:v>2.3479999999999999</c:v>
                </c:pt>
                <c:pt idx="961">
                  <c:v>2.3450000000000002</c:v>
                </c:pt>
                <c:pt idx="962">
                  <c:v>2.3439999999999999</c:v>
                </c:pt>
                <c:pt idx="963">
                  <c:v>2.3420000000000001</c:v>
                </c:pt>
                <c:pt idx="964">
                  <c:v>2.3210000000000002</c:v>
                </c:pt>
                <c:pt idx="965">
                  <c:v>2.3180000000000001</c:v>
                </c:pt>
                <c:pt idx="966">
                  <c:v>2.3130000000000002</c:v>
                </c:pt>
                <c:pt idx="967">
                  <c:v>2.3220000000000001</c:v>
                </c:pt>
                <c:pt idx="968">
                  <c:v>2.3189999999999991</c:v>
                </c:pt>
                <c:pt idx="969">
                  <c:v>2.3330000000000002</c:v>
                </c:pt>
                <c:pt idx="970">
                  <c:v>2.3290000000000002</c:v>
                </c:pt>
                <c:pt idx="971">
                  <c:v>2.3250000000000002</c:v>
                </c:pt>
                <c:pt idx="972">
                  <c:v>2.33</c:v>
                </c:pt>
                <c:pt idx="973">
                  <c:v>2.3170000000000002</c:v>
                </c:pt>
                <c:pt idx="974">
                  <c:v>2.3010000000000002</c:v>
                </c:pt>
                <c:pt idx="975">
                  <c:v>2.2949999999999999</c:v>
                </c:pt>
                <c:pt idx="976">
                  <c:v>2.306</c:v>
                </c:pt>
                <c:pt idx="977">
                  <c:v>2.3189999999999991</c:v>
                </c:pt>
                <c:pt idx="978">
                  <c:v>2.3860000000000001</c:v>
                </c:pt>
                <c:pt idx="979">
                  <c:v>2.39</c:v>
                </c:pt>
                <c:pt idx="980">
                  <c:v>2.3889999999999998</c:v>
                </c:pt>
                <c:pt idx="981">
                  <c:v>2.3889999999999998</c:v>
                </c:pt>
                <c:pt idx="982">
                  <c:v>2.395</c:v>
                </c:pt>
                <c:pt idx="983">
                  <c:v>2.403</c:v>
                </c:pt>
                <c:pt idx="984">
                  <c:v>2.371999999999999</c:v>
                </c:pt>
                <c:pt idx="985">
                  <c:v>2.37</c:v>
                </c:pt>
                <c:pt idx="986">
                  <c:v>2.3690000000000002</c:v>
                </c:pt>
                <c:pt idx="987">
                  <c:v>2.367</c:v>
                </c:pt>
                <c:pt idx="988">
                  <c:v>2.3660000000000001</c:v>
                </c:pt>
                <c:pt idx="989">
                  <c:v>2.36</c:v>
                </c:pt>
                <c:pt idx="990">
                  <c:v>2.343</c:v>
                </c:pt>
                <c:pt idx="991">
                  <c:v>2.343</c:v>
                </c:pt>
                <c:pt idx="992">
                  <c:v>2.3450000000000002</c:v>
                </c:pt>
                <c:pt idx="993">
                  <c:v>2.3460000000000001</c:v>
                </c:pt>
                <c:pt idx="994">
                  <c:v>2.35</c:v>
                </c:pt>
                <c:pt idx="995">
                  <c:v>2.3549999999999991</c:v>
                </c:pt>
                <c:pt idx="996">
                  <c:v>2.3570000000000002</c:v>
                </c:pt>
                <c:pt idx="997">
                  <c:v>2.3589999999999991</c:v>
                </c:pt>
                <c:pt idx="998">
                  <c:v>2.3610000000000002</c:v>
                </c:pt>
                <c:pt idx="999">
                  <c:v>2.3639999999999999</c:v>
                </c:pt>
                <c:pt idx="1000">
                  <c:v>2.3639999999999999</c:v>
                </c:pt>
                <c:pt idx="1001">
                  <c:v>2.3639999999999999</c:v>
                </c:pt>
                <c:pt idx="1002">
                  <c:v>2.37</c:v>
                </c:pt>
                <c:pt idx="1003">
                  <c:v>2.383</c:v>
                </c:pt>
                <c:pt idx="1004">
                  <c:v>2.383</c:v>
                </c:pt>
                <c:pt idx="1005">
                  <c:v>2.3860000000000001</c:v>
                </c:pt>
                <c:pt idx="1006">
                  <c:v>2.3879999999999999</c:v>
                </c:pt>
                <c:pt idx="1007">
                  <c:v>2.3889999999999998</c:v>
                </c:pt>
                <c:pt idx="1008">
                  <c:v>2.39</c:v>
                </c:pt>
                <c:pt idx="1009">
                  <c:v>2.395999999999999</c:v>
                </c:pt>
                <c:pt idx="1010">
                  <c:v>2.399</c:v>
                </c:pt>
                <c:pt idx="1011">
                  <c:v>2.4039999999999999</c:v>
                </c:pt>
                <c:pt idx="1012">
                  <c:v>2.4089999999999998</c:v>
                </c:pt>
                <c:pt idx="1013">
                  <c:v>2.415999999999999</c:v>
                </c:pt>
                <c:pt idx="1014">
                  <c:v>2.4289999999999998</c:v>
                </c:pt>
                <c:pt idx="1015">
                  <c:v>2.42</c:v>
                </c:pt>
                <c:pt idx="1016">
                  <c:v>2.423</c:v>
                </c:pt>
                <c:pt idx="1017">
                  <c:v>2.4249999999999998</c:v>
                </c:pt>
                <c:pt idx="1018">
                  <c:v>2.4239999999999999</c:v>
                </c:pt>
                <c:pt idx="1019">
                  <c:v>2.4340000000000002</c:v>
                </c:pt>
                <c:pt idx="1020">
                  <c:v>2.4340000000000002</c:v>
                </c:pt>
                <c:pt idx="1021">
                  <c:v>2.444</c:v>
                </c:pt>
                <c:pt idx="1022">
                  <c:v>2.448</c:v>
                </c:pt>
                <c:pt idx="1023">
                  <c:v>2.452999999999999</c:v>
                </c:pt>
                <c:pt idx="1024">
                  <c:v>2.46</c:v>
                </c:pt>
                <c:pt idx="1025">
                  <c:v>2.4630000000000001</c:v>
                </c:pt>
                <c:pt idx="1026">
                  <c:v>2.468</c:v>
                </c:pt>
                <c:pt idx="1027">
                  <c:v>2.4750000000000001</c:v>
                </c:pt>
                <c:pt idx="1028">
                  <c:v>2.4830000000000001</c:v>
                </c:pt>
                <c:pt idx="1029">
                  <c:v>2.488</c:v>
                </c:pt>
                <c:pt idx="1030">
                  <c:v>2.4950000000000001</c:v>
                </c:pt>
                <c:pt idx="1031">
                  <c:v>2.492999999999999</c:v>
                </c:pt>
                <c:pt idx="1032">
                  <c:v>2.5089999999999999</c:v>
                </c:pt>
                <c:pt idx="1033">
                  <c:v>2.5049999999999999</c:v>
                </c:pt>
                <c:pt idx="1034">
                  <c:v>2.5110000000000001</c:v>
                </c:pt>
                <c:pt idx="1035">
                  <c:v>2.516</c:v>
                </c:pt>
                <c:pt idx="1036">
                  <c:v>2.516999999999999</c:v>
                </c:pt>
                <c:pt idx="1037">
                  <c:v>2.524</c:v>
                </c:pt>
                <c:pt idx="1038">
                  <c:v>2.536999999999999</c:v>
                </c:pt>
                <c:pt idx="1039">
                  <c:v>2.5499999999999998</c:v>
                </c:pt>
                <c:pt idx="1040">
                  <c:v>2.5510000000000002</c:v>
                </c:pt>
                <c:pt idx="1041">
                  <c:v>2.56</c:v>
                </c:pt>
                <c:pt idx="1042">
                  <c:v>2.5710000000000002</c:v>
                </c:pt>
                <c:pt idx="1043">
                  <c:v>2.581</c:v>
                </c:pt>
                <c:pt idx="1044">
                  <c:v>2.601</c:v>
                </c:pt>
                <c:pt idx="1045">
                  <c:v>2.6110000000000002</c:v>
                </c:pt>
                <c:pt idx="1046">
                  <c:v>2.6309999999999998</c:v>
                </c:pt>
                <c:pt idx="1047">
                  <c:v>2.6520000000000001</c:v>
                </c:pt>
                <c:pt idx="1048">
                  <c:v>2.6739999999999999</c:v>
                </c:pt>
                <c:pt idx="1049">
                  <c:v>2.702</c:v>
                </c:pt>
                <c:pt idx="1050">
                  <c:v>2.758</c:v>
                </c:pt>
                <c:pt idx="1051">
                  <c:v>2.7890000000000001</c:v>
                </c:pt>
                <c:pt idx="1052">
                  <c:v>2.8079999999999998</c:v>
                </c:pt>
                <c:pt idx="1053">
                  <c:v>2.8490000000000002</c:v>
                </c:pt>
                <c:pt idx="1054">
                  <c:v>2.895</c:v>
                </c:pt>
                <c:pt idx="1055">
                  <c:v>2.944</c:v>
                </c:pt>
                <c:pt idx="1056">
                  <c:v>3.03</c:v>
                </c:pt>
                <c:pt idx="1057">
                  <c:v>3.0779999999999998</c:v>
                </c:pt>
                <c:pt idx="1058">
                  <c:v>3.1349999999999998</c:v>
                </c:pt>
                <c:pt idx="1059">
                  <c:v>3.169</c:v>
                </c:pt>
                <c:pt idx="1060">
                  <c:v>3.2040000000000002</c:v>
                </c:pt>
                <c:pt idx="1061">
                  <c:v>3.2290000000000001</c:v>
                </c:pt>
                <c:pt idx="1062">
                  <c:v>3.2589999999999999</c:v>
                </c:pt>
                <c:pt idx="1063">
                  <c:v>3.3039999999999998</c:v>
                </c:pt>
                <c:pt idx="1064">
                  <c:v>3.32</c:v>
                </c:pt>
                <c:pt idx="1065">
                  <c:v>3.3330000000000002</c:v>
                </c:pt>
                <c:pt idx="1066">
                  <c:v>3.335999999999999</c:v>
                </c:pt>
                <c:pt idx="1067">
                  <c:v>3.3490000000000002</c:v>
                </c:pt>
                <c:pt idx="1068">
                  <c:v>3.3589999999999991</c:v>
                </c:pt>
                <c:pt idx="1069">
                  <c:v>3.371</c:v>
                </c:pt>
                <c:pt idx="1070">
                  <c:v>3.3769999999999989</c:v>
                </c:pt>
                <c:pt idx="1071">
                  <c:v>3.39</c:v>
                </c:pt>
                <c:pt idx="1072">
                  <c:v>3.4020000000000001</c:v>
                </c:pt>
                <c:pt idx="1073">
                  <c:v>3.4049999999999998</c:v>
                </c:pt>
                <c:pt idx="1074">
                  <c:v>3.4180000000000001</c:v>
                </c:pt>
                <c:pt idx="1075">
                  <c:v>3.4260000000000002</c:v>
                </c:pt>
                <c:pt idx="1076">
                  <c:v>3.44</c:v>
                </c:pt>
                <c:pt idx="1077">
                  <c:v>3.4540000000000002</c:v>
                </c:pt>
                <c:pt idx="1078">
                  <c:v>3.4740000000000002</c:v>
                </c:pt>
                <c:pt idx="1079">
                  <c:v>3.4980000000000002</c:v>
                </c:pt>
                <c:pt idx="1080">
                  <c:v>3.5470000000000002</c:v>
                </c:pt>
                <c:pt idx="1081">
                  <c:v>3.5670000000000002</c:v>
                </c:pt>
                <c:pt idx="1082">
                  <c:v>3.5920000000000001</c:v>
                </c:pt>
                <c:pt idx="1083">
                  <c:v>3.6040000000000001</c:v>
                </c:pt>
                <c:pt idx="1084">
                  <c:v>3.613</c:v>
                </c:pt>
                <c:pt idx="1085">
                  <c:v>3.6150000000000002</c:v>
                </c:pt>
                <c:pt idx="1086">
                  <c:v>3.617</c:v>
                </c:pt>
                <c:pt idx="1087">
                  <c:v>3.6150000000000002</c:v>
                </c:pt>
                <c:pt idx="1088">
                  <c:v>3.6240000000000001</c:v>
                </c:pt>
                <c:pt idx="1089">
                  <c:v>3.6230000000000002</c:v>
                </c:pt>
                <c:pt idx="1090">
                  <c:v>3.6230000000000002</c:v>
                </c:pt>
                <c:pt idx="1091">
                  <c:v>3.6230000000000002</c:v>
                </c:pt>
                <c:pt idx="1092">
                  <c:v>3.6219999999999999</c:v>
                </c:pt>
                <c:pt idx="1093">
                  <c:v>3.621</c:v>
                </c:pt>
                <c:pt idx="1094">
                  <c:v>3.62</c:v>
                </c:pt>
                <c:pt idx="1095">
                  <c:v>3.6240000000000001</c:v>
                </c:pt>
                <c:pt idx="1096">
                  <c:v>3.6259999999999999</c:v>
                </c:pt>
                <c:pt idx="1097">
                  <c:v>3.6280000000000001</c:v>
                </c:pt>
                <c:pt idx="1098">
                  <c:v>3.6349999999999998</c:v>
                </c:pt>
                <c:pt idx="1099">
                  <c:v>3.6389999999999998</c:v>
                </c:pt>
                <c:pt idx="1100">
                  <c:v>3.6360000000000001</c:v>
                </c:pt>
                <c:pt idx="1101">
                  <c:v>3.6389999999999998</c:v>
                </c:pt>
                <c:pt idx="1102">
                  <c:v>3.6429999999999998</c:v>
                </c:pt>
                <c:pt idx="1103">
                  <c:v>3.645</c:v>
                </c:pt>
                <c:pt idx="1104">
                  <c:v>3.6459999999999999</c:v>
                </c:pt>
                <c:pt idx="1105">
                  <c:v>3.6520000000000001</c:v>
                </c:pt>
                <c:pt idx="1106">
                  <c:v>3.6520000000000001</c:v>
                </c:pt>
                <c:pt idx="1107">
                  <c:v>3.6509999999999998</c:v>
                </c:pt>
                <c:pt idx="1108">
                  <c:v>3.65</c:v>
                </c:pt>
                <c:pt idx="1109">
                  <c:v>3.65</c:v>
                </c:pt>
                <c:pt idx="1110">
                  <c:v>3.645</c:v>
                </c:pt>
                <c:pt idx="1111">
                  <c:v>3.6419999999999999</c:v>
                </c:pt>
                <c:pt idx="1112">
                  <c:v>3.6459999999999999</c:v>
                </c:pt>
                <c:pt idx="1113">
                  <c:v>3.6459999999999999</c:v>
                </c:pt>
                <c:pt idx="1114">
                  <c:v>3.65</c:v>
                </c:pt>
                <c:pt idx="1115">
                  <c:v>3.6539999999999999</c:v>
                </c:pt>
                <c:pt idx="1116">
                  <c:v>3.6659999999999999</c:v>
                </c:pt>
                <c:pt idx="1117">
                  <c:v>3.6829999999999998</c:v>
                </c:pt>
                <c:pt idx="1118">
                  <c:v>3.6989999999999998</c:v>
                </c:pt>
                <c:pt idx="1119">
                  <c:v>3.7120000000000002</c:v>
                </c:pt>
                <c:pt idx="1120">
                  <c:v>3.7229999999999999</c:v>
                </c:pt>
                <c:pt idx="1121">
                  <c:v>3.7360000000000002</c:v>
                </c:pt>
                <c:pt idx="1122">
                  <c:v>3.7480000000000002</c:v>
                </c:pt>
                <c:pt idx="1123">
                  <c:v>3.7759999999999998</c:v>
                </c:pt>
                <c:pt idx="1124">
                  <c:v>3.7839999999999998</c:v>
                </c:pt>
                <c:pt idx="1125">
                  <c:v>3.8</c:v>
                </c:pt>
                <c:pt idx="1126">
                  <c:v>3.8170000000000002</c:v>
                </c:pt>
                <c:pt idx="1127">
                  <c:v>3.83</c:v>
                </c:pt>
                <c:pt idx="1128">
                  <c:v>3.843</c:v>
                </c:pt>
                <c:pt idx="1129">
                  <c:v>3.8690000000000002</c:v>
                </c:pt>
                <c:pt idx="1130">
                  <c:v>3.8780000000000001</c:v>
                </c:pt>
                <c:pt idx="1131">
                  <c:v>3.891</c:v>
                </c:pt>
                <c:pt idx="1132">
                  <c:v>3.903</c:v>
                </c:pt>
                <c:pt idx="1133">
                  <c:v>3.915999999999999</c:v>
                </c:pt>
                <c:pt idx="1134">
                  <c:v>3.9289999999999998</c:v>
                </c:pt>
                <c:pt idx="1135">
                  <c:v>3.9649999999999999</c:v>
                </c:pt>
                <c:pt idx="1136">
                  <c:v>3.964</c:v>
                </c:pt>
                <c:pt idx="1137">
                  <c:v>3.96</c:v>
                </c:pt>
                <c:pt idx="1138">
                  <c:v>3.9540000000000002</c:v>
                </c:pt>
                <c:pt idx="1139">
                  <c:v>3.94</c:v>
                </c:pt>
                <c:pt idx="1140">
                  <c:v>3.948</c:v>
                </c:pt>
                <c:pt idx="1141">
                  <c:v>3.9449999999999998</c:v>
                </c:pt>
                <c:pt idx="1142">
                  <c:v>3.948</c:v>
                </c:pt>
                <c:pt idx="1143">
                  <c:v>3.9489999999999998</c:v>
                </c:pt>
                <c:pt idx="1144">
                  <c:v>3.95</c:v>
                </c:pt>
                <c:pt idx="1145">
                  <c:v>3.9489999999999998</c:v>
                </c:pt>
                <c:pt idx="1146">
                  <c:v>3.9369999999999989</c:v>
                </c:pt>
                <c:pt idx="1147">
                  <c:v>3.94</c:v>
                </c:pt>
                <c:pt idx="1148">
                  <c:v>3.9380000000000002</c:v>
                </c:pt>
                <c:pt idx="1149">
                  <c:v>3.9369999999999989</c:v>
                </c:pt>
                <c:pt idx="1150">
                  <c:v>3.94</c:v>
                </c:pt>
                <c:pt idx="1151">
                  <c:v>3.9369999999999989</c:v>
                </c:pt>
                <c:pt idx="1152">
                  <c:v>3.9489999999999998</c:v>
                </c:pt>
                <c:pt idx="1153">
                  <c:v>3.9540000000000002</c:v>
                </c:pt>
                <c:pt idx="1154">
                  <c:v>3.9590000000000001</c:v>
                </c:pt>
                <c:pt idx="1155">
                  <c:v>3.9649999999999999</c:v>
                </c:pt>
                <c:pt idx="1156">
                  <c:v>3.9689999999999999</c:v>
                </c:pt>
                <c:pt idx="1157">
                  <c:v>3.9860000000000002</c:v>
                </c:pt>
                <c:pt idx="1158">
                  <c:v>3.9860000000000002</c:v>
                </c:pt>
                <c:pt idx="1159">
                  <c:v>3.9870000000000001</c:v>
                </c:pt>
                <c:pt idx="1160">
                  <c:v>3.9889999999999999</c:v>
                </c:pt>
                <c:pt idx="1161">
                  <c:v>3.992</c:v>
                </c:pt>
                <c:pt idx="1162">
                  <c:v>3.992</c:v>
                </c:pt>
                <c:pt idx="1163">
                  <c:v>3.9940000000000002</c:v>
                </c:pt>
                <c:pt idx="1164">
                  <c:v>3.9950000000000001</c:v>
                </c:pt>
                <c:pt idx="1165">
                  <c:v>3.996</c:v>
                </c:pt>
                <c:pt idx="1166">
                  <c:v>4</c:v>
                </c:pt>
                <c:pt idx="1167">
                  <c:v>4.0090000000000003</c:v>
                </c:pt>
                <c:pt idx="1168">
                  <c:v>4.0149999999999988</c:v>
                </c:pt>
                <c:pt idx="1169">
                  <c:v>4.0179999999999989</c:v>
                </c:pt>
                <c:pt idx="1170">
                  <c:v>4.0279999999999987</c:v>
                </c:pt>
                <c:pt idx="1171">
                  <c:v>4.0330000000000004</c:v>
                </c:pt>
                <c:pt idx="1172">
                  <c:v>4.0369999999999999</c:v>
                </c:pt>
                <c:pt idx="1173">
                  <c:v>4.04</c:v>
                </c:pt>
                <c:pt idx="1174">
                  <c:v>4.0439999999999996</c:v>
                </c:pt>
                <c:pt idx="1175">
                  <c:v>4.048</c:v>
                </c:pt>
                <c:pt idx="1176">
                  <c:v>4.0469999999999997</c:v>
                </c:pt>
                <c:pt idx="1177">
                  <c:v>4.05</c:v>
                </c:pt>
                <c:pt idx="1178">
                  <c:v>4.0510000000000002</c:v>
                </c:pt>
                <c:pt idx="1179">
                  <c:v>4.0460000000000003</c:v>
                </c:pt>
                <c:pt idx="1180">
                  <c:v>4.056</c:v>
                </c:pt>
                <c:pt idx="1181">
                  <c:v>4.0579999999999989</c:v>
                </c:pt>
                <c:pt idx="1182">
                  <c:v>4.0569999999999986</c:v>
                </c:pt>
                <c:pt idx="1183">
                  <c:v>4.0609999999999991</c:v>
                </c:pt>
                <c:pt idx="1184">
                  <c:v>4.0709999999999997</c:v>
                </c:pt>
                <c:pt idx="1185">
                  <c:v>4.077</c:v>
                </c:pt>
                <c:pt idx="1186">
                  <c:v>4.09</c:v>
                </c:pt>
                <c:pt idx="1187">
                  <c:v>4.0970000000000004</c:v>
                </c:pt>
                <c:pt idx="1188">
                  <c:v>4.105999999999999</c:v>
                </c:pt>
                <c:pt idx="1189">
                  <c:v>4.1279999999999992</c:v>
                </c:pt>
                <c:pt idx="1190">
                  <c:v>4.1390000000000002</c:v>
                </c:pt>
                <c:pt idx="1191">
                  <c:v>4.1479999999999988</c:v>
                </c:pt>
                <c:pt idx="1192">
                  <c:v>4.1479999999999988</c:v>
                </c:pt>
                <c:pt idx="1193">
                  <c:v>4.1529999999999987</c:v>
                </c:pt>
                <c:pt idx="1194">
                  <c:v>4.1559999999999988</c:v>
                </c:pt>
                <c:pt idx="1195">
                  <c:v>4.1419999999999986</c:v>
                </c:pt>
                <c:pt idx="1196">
                  <c:v>4.1509999999999989</c:v>
                </c:pt>
                <c:pt idx="1197">
                  <c:v>4.133</c:v>
                </c:pt>
                <c:pt idx="1198">
                  <c:v>4.13</c:v>
                </c:pt>
                <c:pt idx="1199">
                  <c:v>4.1199999999999992</c:v>
                </c:pt>
                <c:pt idx="1200">
                  <c:v>4.1050000000000004</c:v>
                </c:pt>
                <c:pt idx="1201">
                  <c:v>4.1079999999999988</c:v>
                </c:pt>
                <c:pt idx="1202">
                  <c:v>4.113999999999999</c:v>
                </c:pt>
                <c:pt idx="1203">
                  <c:v>4.1149999999999993</c:v>
                </c:pt>
                <c:pt idx="1204">
                  <c:v>4.1169999999999991</c:v>
                </c:pt>
                <c:pt idx="1205">
                  <c:v>4.1319999999999997</c:v>
                </c:pt>
                <c:pt idx="1206">
                  <c:v>4.1529999999999987</c:v>
                </c:pt>
                <c:pt idx="1207">
                  <c:v>4.1569999999999991</c:v>
                </c:pt>
                <c:pt idx="1208">
                  <c:v>4.1589999999999989</c:v>
                </c:pt>
                <c:pt idx="1209">
                  <c:v>4.177999999999999</c:v>
                </c:pt>
                <c:pt idx="1210">
                  <c:v>4.177999999999999</c:v>
                </c:pt>
                <c:pt idx="1211">
                  <c:v>4.17</c:v>
                </c:pt>
                <c:pt idx="1212">
                  <c:v>4.1629999999999994</c:v>
                </c:pt>
                <c:pt idx="1213">
                  <c:v>4.1519999999999992</c:v>
                </c:pt>
                <c:pt idx="1214">
                  <c:v>4.1289999999999987</c:v>
                </c:pt>
                <c:pt idx="1215">
                  <c:v>4.1199999999999992</c:v>
                </c:pt>
                <c:pt idx="1216">
                  <c:v>4.113999999999999</c:v>
                </c:pt>
                <c:pt idx="1217">
                  <c:v>4.109</c:v>
                </c:pt>
                <c:pt idx="1218">
                  <c:v>4.105999999999999</c:v>
                </c:pt>
                <c:pt idx="1219">
                  <c:v>4.1050000000000004</c:v>
                </c:pt>
                <c:pt idx="1220">
                  <c:v>4.0990000000000002</c:v>
                </c:pt>
                <c:pt idx="1221">
                  <c:v>4.0990000000000002</c:v>
                </c:pt>
                <c:pt idx="1222">
                  <c:v>4.0970000000000004</c:v>
                </c:pt>
                <c:pt idx="1223">
                  <c:v>4.0970000000000004</c:v>
                </c:pt>
                <c:pt idx="1224">
                  <c:v>4.0949999999999989</c:v>
                </c:pt>
                <c:pt idx="1225">
                  <c:v>4.0869999999999997</c:v>
                </c:pt>
                <c:pt idx="1226">
                  <c:v>4.0730000000000004</c:v>
                </c:pt>
                <c:pt idx="1227">
                  <c:v>4.0649999999999986</c:v>
                </c:pt>
                <c:pt idx="1228">
                  <c:v>4.0599999999999996</c:v>
                </c:pt>
                <c:pt idx="1229">
                  <c:v>4.0510000000000002</c:v>
                </c:pt>
                <c:pt idx="1230">
                  <c:v>4.0460000000000003</c:v>
                </c:pt>
                <c:pt idx="1231">
                  <c:v>4.0490000000000004</c:v>
                </c:pt>
                <c:pt idx="1232">
                  <c:v>4.0490000000000004</c:v>
                </c:pt>
                <c:pt idx="1233">
                  <c:v>4.0419999999999998</c:v>
                </c:pt>
                <c:pt idx="1234">
                  <c:v>4.04</c:v>
                </c:pt>
                <c:pt idx="1235">
                  <c:v>4.0309999999999997</c:v>
                </c:pt>
                <c:pt idx="1236">
                  <c:v>4.0239999999999991</c:v>
                </c:pt>
                <c:pt idx="1237">
                  <c:v>4.0179999999999989</c:v>
                </c:pt>
                <c:pt idx="1238">
                  <c:v>4.0030000000000001</c:v>
                </c:pt>
                <c:pt idx="1239">
                  <c:v>3.9990000000000001</c:v>
                </c:pt>
                <c:pt idx="1240">
                  <c:v>3.992999999999999</c:v>
                </c:pt>
                <c:pt idx="1241">
                  <c:v>3.9889999999999999</c:v>
                </c:pt>
                <c:pt idx="1242">
                  <c:v>3.9750000000000001</c:v>
                </c:pt>
                <c:pt idx="1243">
                  <c:v>3.948</c:v>
                </c:pt>
                <c:pt idx="1244">
                  <c:v>3.9</c:v>
                </c:pt>
                <c:pt idx="1245">
                  <c:v>3.89</c:v>
                </c:pt>
                <c:pt idx="1246">
                  <c:v>3.8610000000000002</c:v>
                </c:pt>
                <c:pt idx="1247">
                  <c:v>3.8549999999999991</c:v>
                </c:pt>
                <c:pt idx="1248">
                  <c:v>3.875</c:v>
                </c:pt>
                <c:pt idx="1249">
                  <c:v>3.9039999999999999</c:v>
                </c:pt>
                <c:pt idx="1250">
                  <c:v>3.968</c:v>
                </c:pt>
                <c:pt idx="1251">
                  <c:v>4.0030000000000001</c:v>
                </c:pt>
                <c:pt idx="1252">
                  <c:v>4.0460000000000003</c:v>
                </c:pt>
                <c:pt idx="1253">
                  <c:v>4.0669999999999993</c:v>
                </c:pt>
                <c:pt idx="1254">
                  <c:v>4.0669999999999993</c:v>
                </c:pt>
                <c:pt idx="1255">
                  <c:v>4.069</c:v>
                </c:pt>
                <c:pt idx="1256">
                  <c:v>4.0679999999999987</c:v>
                </c:pt>
                <c:pt idx="1257">
                  <c:v>4.0539999999999994</c:v>
                </c:pt>
                <c:pt idx="1258">
                  <c:v>4.048</c:v>
                </c:pt>
                <c:pt idx="1259">
                  <c:v>4.0460000000000003</c:v>
                </c:pt>
                <c:pt idx="1260">
                  <c:v>4.048</c:v>
                </c:pt>
                <c:pt idx="1261">
                  <c:v>4.052999999999999</c:v>
                </c:pt>
                <c:pt idx="1262">
                  <c:v>4.0539999999999994</c:v>
                </c:pt>
                <c:pt idx="1263">
                  <c:v>4.0519999999999996</c:v>
                </c:pt>
                <c:pt idx="1264">
                  <c:v>4.05</c:v>
                </c:pt>
                <c:pt idx="1265">
                  <c:v>4.0490000000000004</c:v>
                </c:pt>
                <c:pt idx="1266">
                  <c:v>4.0439999999999996</c:v>
                </c:pt>
                <c:pt idx="1267">
                  <c:v>4.0330000000000004</c:v>
                </c:pt>
                <c:pt idx="1268">
                  <c:v>4.0229999999999988</c:v>
                </c:pt>
                <c:pt idx="1269">
                  <c:v>4.0199999999999996</c:v>
                </c:pt>
                <c:pt idx="1270">
                  <c:v>4.0190000000000001</c:v>
                </c:pt>
                <c:pt idx="1271">
                  <c:v>4.016</c:v>
                </c:pt>
                <c:pt idx="1272">
                  <c:v>4.01</c:v>
                </c:pt>
                <c:pt idx="1273">
                  <c:v>4.0090000000000003</c:v>
                </c:pt>
                <c:pt idx="1274">
                  <c:v>3.996999999999999</c:v>
                </c:pt>
                <c:pt idx="1275">
                  <c:v>3.9950000000000001</c:v>
                </c:pt>
                <c:pt idx="1276">
                  <c:v>3.9849999999999999</c:v>
                </c:pt>
                <c:pt idx="1277">
                  <c:v>3.976</c:v>
                </c:pt>
                <c:pt idx="1278">
                  <c:v>3.9710000000000001</c:v>
                </c:pt>
                <c:pt idx="1279">
                  <c:v>3.9580000000000002</c:v>
                </c:pt>
                <c:pt idx="1280">
                  <c:v>3.9449999999999998</c:v>
                </c:pt>
                <c:pt idx="1281">
                  <c:v>3.9340000000000002</c:v>
                </c:pt>
                <c:pt idx="1282">
                  <c:v>3.9239999999999999</c:v>
                </c:pt>
                <c:pt idx="1283">
                  <c:v>3.919</c:v>
                </c:pt>
                <c:pt idx="1284">
                  <c:v>3.9169999999999989</c:v>
                </c:pt>
                <c:pt idx="1285">
                  <c:v>3.9169999999999989</c:v>
                </c:pt>
                <c:pt idx="1286">
                  <c:v>3.9209999999999998</c:v>
                </c:pt>
                <c:pt idx="1287">
                  <c:v>3.9249999999999998</c:v>
                </c:pt>
                <c:pt idx="1288">
                  <c:v>3.9359999999999991</c:v>
                </c:pt>
                <c:pt idx="1289">
                  <c:v>3.9359999999999991</c:v>
                </c:pt>
                <c:pt idx="1290">
                  <c:v>3.931</c:v>
                </c:pt>
                <c:pt idx="1291">
                  <c:v>3.9289999999999998</c:v>
                </c:pt>
                <c:pt idx="1292">
                  <c:v>3.919</c:v>
                </c:pt>
                <c:pt idx="1293">
                  <c:v>3.9140000000000001</c:v>
                </c:pt>
                <c:pt idx="1294">
                  <c:v>3.9009999999999998</c:v>
                </c:pt>
                <c:pt idx="1295">
                  <c:v>3.9</c:v>
                </c:pt>
                <c:pt idx="1296">
                  <c:v>3.8980000000000001</c:v>
                </c:pt>
                <c:pt idx="1297">
                  <c:v>3.9009999999999998</c:v>
                </c:pt>
                <c:pt idx="1298">
                  <c:v>3.8980000000000001</c:v>
                </c:pt>
                <c:pt idx="1299">
                  <c:v>3.891999999999999</c:v>
                </c:pt>
                <c:pt idx="1300">
                  <c:v>3.8879999999999999</c:v>
                </c:pt>
                <c:pt idx="1301">
                  <c:v>3.883</c:v>
                </c:pt>
                <c:pt idx="1302">
                  <c:v>3.883</c:v>
                </c:pt>
                <c:pt idx="1303">
                  <c:v>3.8769999999999989</c:v>
                </c:pt>
                <c:pt idx="1304">
                  <c:v>3.879</c:v>
                </c:pt>
                <c:pt idx="1305">
                  <c:v>3.8809999999999998</c:v>
                </c:pt>
                <c:pt idx="1306">
                  <c:v>3.8860000000000001</c:v>
                </c:pt>
                <c:pt idx="1307">
                  <c:v>3.89</c:v>
                </c:pt>
                <c:pt idx="1308">
                  <c:v>3.8889999999999998</c:v>
                </c:pt>
                <c:pt idx="1309">
                  <c:v>3.89</c:v>
                </c:pt>
                <c:pt idx="1310">
                  <c:v>3.8889999999999998</c:v>
                </c:pt>
                <c:pt idx="1311">
                  <c:v>3.8860000000000001</c:v>
                </c:pt>
                <c:pt idx="1312">
                  <c:v>3.88</c:v>
                </c:pt>
                <c:pt idx="1313">
                  <c:v>3.8740000000000001</c:v>
                </c:pt>
                <c:pt idx="1314">
                  <c:v>3.871999999999999</c:v>
                </c:pt>
                <c:pt idx="1315">
                  <c:v>3.8740000000000001</c:v>
                </c:pt>
                <c:pt idx="1316">
                  <c:v>3.8730000000000002</c:v>
                </c:pt>
                <c:pt idx="1317">
                  <c:v>3.875999999999999</c:v>
                </c:pt>
                <c:pt idx="1318">
                  <c:v>3.879</c:v>
                </c:pt>
                <c:pt idx="1319">
                  <c:v>3.8849999999999998</c:v>
                </c:pt>
                <c:pt idx="1320">
                  <c:v>3.8889999999999998</c:v>
                </c:pt>
                <c:pt idx="1321">
                  <c:v>3.895</c:v>
                </c:pt>
                <c:pt idx="1322">
                  <c:v>3.9039999999999999</c:v>
                </c:pt>
                <c:pt idx="1323">
                  <c:v>3.907</c:v>
                </c:pt>
                <c:pt idx="1324">
                  <c:v>3.915999999999999</c:v>
                </c:pt>
                <c:pt idx="1325">
                  <c:v>3.9209999999999998</c:v>
                </c:pt>
                <c:pt idx="1326">
                  <c:v>3.931</c:v>
                </c:pt>
                <c:pt idx="1327">
                  <c:v>3.9340000000000002</c:v>
                </c:pt>
                <c:pt idx="1328">
                  <c:v>3.95</c:v>
                </c:pt>
                <c:pt idx="1329">
                  <c:v>3.9609999999999999</c:v>
                </c:pt>
                <c:pt idx="1330">
                  <c:v>3.9620000000000002</c:v>
                </c:pt>
                <c:pt idx="1331">
                  <c:v>3.9689999999999999</c:v>
                </c:pt>
                <c:pt idx="1332">
                  <c:v>3.976</c:v>
                </c:pt>
                <c:pt idx="1333">
                  <c:v>3.9809999999999999</c:v>
                </c:pt>
                <c:pt idx="1334">
                  <c:v>3.9910000000000001</c:v>
                </c:pt>
                <c:pt idx="1335">
                  <c:v>3.992999999999999</c:v>
                </c:pt>
                <c:pt idx="1336">
                  <c:v>3.992999999999999</c:v>
                </c:pt>
                <c:pt idx="1337">
                  <c:v>3.99</c:v>
                </c:pt>
                <c:pt idx="1338">
                  <c:v>3.9830000000000001</c:v>
                </c:pt>
                <c:pt idx="1339">
                  <c:v>3.9689999999999999</c:v>
                </c:pt>
                <c:pt idx="1340">
                  <c:v>3.9409999999999998</c:v>
                </c:pt>
                <c:pt idx="1341">
                  <c:v>3.9319999999999991</c:v>
                </c:pt>
                <c:pt idx="1342">
                  <c:v>3.9350000000000001</c:v>
                </c:pt>
                <c:pt idx="1343">
                  <c:v>3.9460000000000002</c:v>
                </c:pt>
                <c:pt idx="1344">
                  <c:v>3.964</c:v>
                </c:pt>
                <c:pt idx="1345">
                  <c:v>3.9889999999999999</c:v>
                </c:pt>
                <c:pt idx="1346">
                  <c:v>4.0410000000000004</c:v>
                </c:pt>
                <c:pt idx="1347">
                  <c:v>4.0619999999999994</c:v>
                </c:pt>
                <c:pt idx="1348">
                  <c:v>4.0810000000000004</c:v>
                </c:pt>
                <c:pt idx="1349">
                  <c:v>4.0939999999999994</c:v>
                </c:pt>
                <c:pt idx="1350">
                  <c:v>4.1050000000000004</c:v>
                </c:pt>
                <c:pt idx="1351">
                  <c:v>4.1169999999999991</c:v>
                </c:pt>
                <c:pt idx="1352">
                  <c:v>4.141</c:v>
                </c:pt>
                <c:pt idx="1353">
                  <c:v>4.145999999999999</c:v>
                </c:pt>
                <c:pt idx="1354">
                  <c:v>4.1589999999999989</c:v>
                </c:pt>
                <c:pt idx="1355">
                  <c:v>4.1769999999999996</c:v>
                </c:pt>
                <c:pt idx="1356">
                  <c:v>4.21</c:v>
                </c:pt>
                <c:pt idx="1357">
                  <c:v>4.2489999999999997</c:v>
                </c:pt>
                <c:pt idx="1358">
                  <c:v>4.3279999999999994</c:v>
                </c:pt>
                <c:pt idx="1359">
                  <c:v>4.3710000000000004</c:v>
                </c:pt>
                <c:pt idx="1360">
                  <c:v>4.3939999999999992</c:v>
                </c:pt>
                <c:pt idx="1361">
                  <c:v>4.391</c:v>
                </c:pt>
                <c:pt idx="1362">
                  <c:v>4.3679999999999994</c:v>
                </c:pt>
                <c:pt idx="1363">
                  <c:v>4.3330000000000002</c:v>
                </c:pt>
                <c:pt idx="1364">
                  <c:v>4.258</c:v>
                </c:pt>
                <c:pt idx="1365">
                  <c:v>4.2239999999999993</c:v>
                </c:pt>
                <c:pt idx="1366">
                  <c:v>4.2</c:v>
                </c:pt>
                <c:pt idx="1367">
                  <c:v>4.1909999999999989</c:v>
                </c:pt>
                <c:pt idx="1368">
                  <c:v>4.1859999999999991</c:v>
                </c:pt>
                <c:pt idx="1369">
                  <c:v>4.1819999999999986</c:v>
                </c:pt>
                <c:pt idx="1370">
                  <c:v>4.1769999999999996</c:v>
                </c:pt>
                <c:pt idx="1371">
                  <c:v>4.1710000000000003</c:v>
                </c:pt>
                <c:pt idx="1372">
                  <c:v>4.161999999999999</c:v>
                </c:pt>
                <c:pt idx="1373">
                  <c:v>4.1549999999999994</c:v>
                </c:pt>
                <c:pt idx="1374">
                  <c:v>4.149</c:v>
                </c:pt>
                <c:pt idx="1375">
                  <c:v>4.145999999999999</c:v>
                </c:pt>
                <c:pt idx="1376">
                  <c:v>4.141</c:v>
                </c:pt>
                <c:pt idx="1377">
                  <c:v>4.1339999999999986</c:v>
                </c:pt>
                <c:pt idx="1378">
                  <c:v>4.1149999999999993</c:v>
                </c:pt>
                <c:pt idx="1379">
                  <c:v>4.0869999999999997</c:v>
                </c:pt>
                <c:pt idx="1380">
                  <c:v>4.0510000000000002</c:v>
                </c:pt>
                <c:pt idx="1381">
                  <c:v>4.0149999999999988</c:v>
                </c:pt>
                <c:pt idx="1382">
                  <c:v>3.94</c:v>
                </c:pt>
                <c:pt idx="1383">
                  <c:v>3.9129999999999989</c:v>
                </c:pt>
                <c:pt idx="1384">
                  <c:v>3.9049999999999998</c:v>
                </c:pt>
                <c:pt idx="1385">
                  <c:v>3.9140000000000001</c:v>
                </c:pt>
                <c:pt idx="1386">
                  <c:v>3.927</c:v>
                </c:pt>
                <c:pt idx="1387">
                  <c:v>3.944</c:v>
                </c:pt>
                <c:pt idx="1388">
                  <c:v>3.9809999999999999</c:v>
                </c:pt>
                <c:pt idx="1389">
                  <c:v>3.9950000000000001</c:v>
                </c:pt>
                <c:pt idx="1390">
                  <c:v>4.0119999999999996</c:v>
                </c:pt>
                <c:pt idx="1391">
                  <c:v>4.0219999999999994</c:v>
                </c:pt>
                <c:pt idx="1392">
                  <c:v>4.0380000000000003</c:v>
                </c:pt>
                <c:pt idx="1393">
                  <c:v>4.0510000000000002</c:v>
                </c:pt>
                <c:pt idx="1394">
                  <c:v>4.0759999999999996</c:v>
                </c:pt>
                <c:pt idx="1395">
                  <c:v>4.0830000000000002</c:v>
                </c:pt>
                <c:pt idx="1396">
                  <c:v>4.0839999999999996</c:v>
                </c:pt>
                <c:pt idx="1397">
                  <c:v>4.0789999999999997</c:v>
                </c:pt>
                <c:pt idx="1398">
                  <c:v>4.0430000000000001</c:v>
                </c:pt>
                <c:pt idx="1399">
                  <c:v>4.0469999999999997</c:v>
                </c:pt>
                <c:pt idx="1400">
                  <c:v>4.0579999999999989</c:v>
                </c:pt>
                <c:pt idx="1401">
                  <c:v>4.08</c:v>
                </c:pt>
                <c:pt idx="1402">
                  <c:v>4.0939999999999994</c:v>
                </c:pt>
                <c:pt idx="1403">
                  <c:v>4.109</c:v>
                </c:pt>
                <c:pt idx="1404">
                  <c:v>4.1259999999999986</c:v>
                </c:pt>
                <c:pt idx="1405">
                  <c:v>4.1360000000000001</c:v>
                </c:pt>
                <c:pt idx="1406">
                  <c:v>4.1399999999999997</c:v>
                </c:pt>
                <c:pt idx="1407">
                  <c:v>4.1469999999999994</c:v>
                </c:pt>
                <c:pt idx="1408">
                  <c:v>4.1469999999999994</c:v>
                </c:pt>
                <c:pt idx="1409">
                  <c:v>4.145999999999999</c:v>
                </c:pt>
                <c:pt idx="1410">
                  <c:v>4.1419999999999986</c:v>
                </c:pt>
                <c:pt idx="1411">
                  <c:v>4.1419999999999986</c:v>
                </c:pt>
                <c:pt idx="1412">
                  <c:v>4.1419999999999986</c:v>
                </c:pt>
                <c:pt idx="1413">
                  <c:v>4.137999999999999</c:v>
                </c:pt>
                <c:pt idx="1414">
                  <c:v>4.141</c:v>
                </c:pt>
                <c:pt idx="1415">
                  <c:v>4.1419999999999986</c:v>
                </c:pt>
                <c:pt idx="1416">
                  <c:v>4.1439999999999992</c:v>
                </c:pt>
                <c:pt idx="1417">
                  <c:v>4.1449999999999987</c:v>
                </c:pt>
                <c:pt idx="1418">
                  <c:v>4.1479999999999988</c:v>
                </c:pt>
                <c:pt idx="1419">
                  <c:v>4.1589999999999989</c:v>
                </c:pt>
                <c:pt idx="1420">
                  <c:v>4.1649999999999991</c:v>
                </c:pt>
                <c:pt idx="1421">
                  <c:v>4.173</c:v>
                </c:pt>
                <c:pt idx="1422">
                  <c:v>4.181</c:v>
                </c:pt>
                <c:pt idx="1423">
                  <c:v>4.1890000000000001</c:v>
                </c:pt>
                <c:pt idx="1424">
                  <c:v>4.1929999999999987</c:v>
                </c:pt>
                <c:pt idx="1425">
                  <c:v>4.198999999999999</c:v>
                </c:pt>
                <c:pt idx="1426">
                  <c:v>4.2009999999999996</c:v>
                </c:pt>
                <c:pt idx="1427">
                  <c:v>4.1979999999999986</c:v>
                </c:pt>
                <c:pt idx="1428">
                  <c:v>4.1939999999999991</c:v>
                </c:pt>
                <c:pt idx="1429">
                  <c:v>4.1899999999999986</c:v>
                </c:pt>
                <c:pt idx="1430">
                  <c:v>4.1829999999999989</c:v>
                </c:pt>
                <c:pt idx="1431">
                  <c:v>4.1719999999999997</c:v>
                </c:pt>
                <c:pt idx="1432">
                  <c:v>4.1659999999999986</c:v>
                </c:pt>
                <c:pt idx="1433">
                  <c:v>4.1589999999999989</c:v>
                </c:pt>
                <c:pt idx="1434">
                  <c:v>4.1509999999999989</c:v>
                </c:pt>
                <c:pt idx="1435">
                  <c:v>4.13</c:v>
                </c:pt>
                <c:pt idx="1436">
                  <c:v>4.1199999999999992</c:v>
                </c:pt>
                <c:pt idx="1437">
                  <c:v>4.1099999999999994</c:v>
                </c:pt>
                <c:pt idx="1438">
                  <c:v>4.101</c:v>
                </c:pt>
                <c:pt idx="1439">
                  <c:v>4.0949999999999989</c:v>
                </c:pt>
                <c:pt idx="1440">
                  <c:v>4.0839999999999996</c:v>
                </c:pt>
                <c:pt idx="1441">
                  <c:v>4.0599999999999996</c:v>
                </c:pt>
                <c:pt idx="1442">
                  <c:v>4.048</c:v>
                </c:pt>
                <c:pt idx="1443">
                  <c:v>4.0410000000000004</c:v>
                </c:pt>
                <c:pt idx="1444">
                  <c:v>4.0339999999999998</c:v>
                </c:pt>
                <c:pt idx="1445">
                  <c:v>4.0219999999999994</c:v>
                </c:pt>
                <c:pt idx="1446">
                  <c:v>4.012999999999999</c:v>
                </c:pt>
                <c:pt idx="1447">
                  <c:v>3.992</c:v>
                </c:pt>
                <c:pt idx="1448">
                  <c:v>3.9980000000000002</c:v>
                </c:pt>
                <c:pt idx="1449">
                  <c:v>3.9910000000000001</c:v>
                </c:pt>
                <c:pt idx="1450">
                  <c:v>3.988</c:v>
                </c:pt>
                <c:pt idx="1451">
                  <c:v>3.9860000000000002</c:v>
                </c:pt>
                <c:pt idx="1452">
                  <c:v>3.9830000000000001</c:v>
                </c:pt>
                <c:pt idx="1453">
                  <c:v>3.97</c:v>
                </c:pt>
                <c:pt idx="1454">
                  <c:v>3.964</c:v>
                </c:pt>
                <c:pt idx="1455">
                  <c:v>3.9590000000000001</c:v>
                </c:pt>
                <c:pt idx="1456">
                  <c:v>3.956999999999999</c:v>
                </c:pt>
                <c:pt idx="1457">
                  <c:v>3.9340000000000002</c:v>
                </c:pt>
                <c:pt idx="1458">
                  <c:v>3.915</c:v>
                </c:pt>
                <c:pt idx="1459">
                  <c:v>3.895999999999999</c:v>
                </c:pt>
                <c:pt idx="1460">
                  <c:v>3.875</c:v>
                </c:pt>
                <c:pt idx="1461">
                  <c:v>3.8540000000000001</c:v>
                </c:pt>
                <c:pt idx="1462">
                  <c:v>3.8290000000000002</c:v>
                </c:pt>
                <c:pt idx="1463">
                  <c:v>3.7989999999999999</c:v>
                </c:pt>
                <c:pt idx="1464">
                  <c:v>3.7869999999999999</c:v>
                </c:pt>
                <c:pt idx="1465">
                  <c:v>3.78</c:v>
                </c:pt>
                <c:pt idx="1466">
                  <c:v>3.7709999999999999</c:v>
                </c:pt>
                <c:pt idx="1467">
                  <c:v>3.762</c:v>
                </c:pt>
                <c:pt idx="1468">
                  <c:v>3.7629999999999999</c:v>
                </c:pt>
                <c:pt idx="1469">
                  <c:v>3.7429999999999999</c:v>
                </c:pt>
                <c:pt idx="1470">
                  <c:v>3.7370000000000001</c:v>
                </c:pt>
                <c:pt idx="1471">
                  <c:v>3.7280000000000002</c:v>
                </c:pt>
                <c:pt idx="1472">
                  <c:v>3.7229999999999999</c:v>
                </c:pt>
                <c:pt idx="1473">
                  <c:v>3.7229999999999999</c:v>
                </c:pt>
                <c:pt idx="1474">
                  <c:v>3.7120000000000002</c:v>
                </c:pt>
                <c:pt idx="1475">
                  <c:v>3.7130000000000001</c:v>
                </c:pt>
                <c:pt idx="1476">
                  <c:v>3.7149999999999999</c:v>
                </c:pt>
                <c:pt idx="1477">
                  <c:v>3.72</c:v>
                </c:pt>
                <c:pt idx="1478">
                  <c:v>3.7269999999999999</c:v>
                </c:pt>
                <c:pt idx="1479">
                  <c:v>3.7389999999999999</c:v>
                </c:pt>
                <c:pt idx="1480">
                  <c:v>3.7440000000000002</c:v>
                </c:pt>
                <c:pt idx="1481">
                  <c:v>3.7530000000000001</c:v>
                </c:pt>
                <c:pt idx="1482">
                  <c:v>3.7570000000000001</c:v>
                </c:pt>
                <c:pt idx="1483">
                  <c:v>3.754</c:v>
                </c:pt>
                <c:pt idx="1484">
                  <c:v>3.7490000000000001</c:v>
                </c:pt>
                <c:pt idx="1485">
                  <c:v>3.734</c:v>
                </c:pt>
                <c:pt idx="1486">
                  <c:v>3.734</c:v>
                </c:pt>
                <c:pt idx="1487">
                  <c:v>3.7320000000000002</c:v>
                </c:pt>
                <c:pt idx="1488">
                  <c:v>3.7309999999999999</c:v>
                </c:pt>
                <c:pt idx="1489">
                  <c:v>3.738</c:v>
                </c:pt>
                <c:pt idx="1490">
                  <c:v>3.7490000000000001</c:v>
                </c:pt>
                <c:pt idx="1491">
                  <c:v>3.762</c:v>
                </c:pt>
                <c:pt idx="1492">
                  <c:v>3.7679999999999998</c:v>
                </c:pt>
                <c:pt idx="1493">
                  <c:v>3.78</c:v>
                </c:pt>
                <c:pt idx="1494">
                  <c:v>3.78</c:v>
                </c:pt>
                <c:pt idx="1495">
                  <c:v>3.7789999999999999</c:v>
                </c:pt>
                <c:pt idx="1496">
                  <c:v>3.774</c:v>
                </c:pt>
                <c:pt idx="1497">
                  <c:v>3.7690000000000001</c:v>
                </c:pt>
                <c:pt idx="1498">
                  <c:v>3.76</c:v>
                </c:pt>
                <c:pt idx="1499">
                  <c:v>3.762</c:v>
                </c:pt>
                <c:pt idx="1500">
                  <c:v>3.7530000000000001</c:v>
                </c:pt>
                <c:pt idx="1501">
                  <c:v>3.7469999999999999</c:v>
                </c:pt>
                <c:pt idx="1502">
                  <c:v>3.7410000000000001</c:v>
                </c:pt>
                <c:pt idx="1503">
                  <c:v>3.742</c:v>
                </c:pt>
                <c:pt idx="1504">
                  <c:v>3.738</c:v>
                </c:pt>
                <c:pt idx="1505">
                  <c:v>3.734</c:v>
                </c:pt>
                <c:pt idx="1506">
                  <c:v>3.722</c:v>
                </c:pt>
                <c:pt idx="1507">
                  <c:v>3.7130000000000001</c:v>
                </c:pt>
                <c:pt idx="1508">
                  <c:v>3.7</c:v>
                </c:pt>
                <c:pt idx="1509">
                  <c:v>3.6840000000000002</c:v>
                </c:pt>
                <c:pt idx="1510">
                  <c:v>3.6629999999999998</c:v>
                </c:pt>
                <c:pt idx="1511">
                  <c:v>3.6259999999999999</c:v>
                </c:pt>
                <c:pt idx="1512">
                  <c:v>3.6019999999999999</c:v>
                </c:pt>
                <c:pt idx="1513">
                  <c:v>3.5840000000000001</c:v>
                </c:pt>
                <c:pt idx="1514">
                  <c:v>3.5680000000000001</c:v>
                </c:pt>
                <c:pt idx="1515">
                  <c:v>3.556</c:v>
                </c:pt>
                <c:pt idx="1516">
                  <c:v>3.5470000000000002</c:v>
                </c:pt>
                <c:pt idx="1517">
                  <c:v>3.5270000000000001</c:v>
                </c:pt>
                <c:pt idx="1518">
                  <c:v>3.5270000000000001</c:v>
                </c:pt>
                <c:pt idx="1519">
                  <c:v>3.524</c:v>
                </c:pt>
                <c:pt idx="1520">
                  <c:v>3.516999999999999</c:v>
                </c:pt>
                <c:pt idx="1521">
                  <c:v>3.5089999999999999</c:v>
                </c:pt>
                <c:pt idx="1522">
                  <c:v>3.5019999999999998</c:v>
                </c:pt>
                <c:pt idx="1523">
                  <c:v>3.484</c:v>
                </c:pt>
                <c:pt idx="1524">
                  <c:v>3.472999999999999</c:v>
                </c:pt>
                <c:pt idx="1525">
                  <c:v>3.4689999999999999</c:v>
                </c:pt>
                <c:pt idx="1526">
                  <c:v>3.464</c:v>
                </c:pt>
                <c:pt idx="1527">
                  <c:v>3.4590000000000001</c:v>
                </c:pt>
                <c:pt idx="1528">
                  <c:v>3.4519999999999991</c:v>
                </c:pt>
                <c:pt idx="1529">
                  <c:v>3.4430000000000001</c:v>
                </c:pt>
                <c:pt idx="1530">
                  <c:v>3.448</c:v>
                </c:pt>
                <c:pt idx="1531">
                  <c:v>3.4350000000000001</c:v>
                </c:pt>
                <c:pt idx="1532">
                  <c:v>3.4279999999999999</c:v>
                </c:pt>
                <c:pt idx="1533">
                  <c:v>3.4209999999999998</c:v>
                </c:pt>
                <c:pt idx="1534">
                  <c:v>3.4129999999999989</c:v>
                </c:pt>
                <c:pt idx="1535">
                  <c:v>3.395</c:v>
                </c:pt>
                <c:pt idx="1536">
                  <c:v>3.3769999999999989</c:v>
                </c:pt>
                <c:pt idx="1537">
                  <c:v>3.3679999999999999</c:v>
                </c:pt>
                <c:pt idx="1538">
                  <c:v>3.36</c:v>
                </c:pt>
                <c:pt idx="1539">
                  <c:v>3.351999999999999</c:v>
                </c:pt>
                <c:pt idx="1540">
                  <c:v>3.3439999999999999</c:v>
                </c:pt>
                <c:pt idx="1541">
                  <c:v>3.3290000000000002</c:v>
                </c:pt>
                <c:pt idx="1542">
                  <c:v>3.33</c:v>
                </c:pt>
                <c:pt idx="1543">
                  <c:v>3.3250000000000002</c:v>
                </c:pt>
                <c:pt idx="1544">
                  <c:v>3.3149999999999991</c:v>
                </c:pt>
                <c:pt idx="1545">
                  <c:v>3.306</c:v>
                </c:pt>
                <c:pt idx="1546">
                  <c:v>3.2970000000000002</c:v>
                </c:pt>
                <c:pt idx="1547">
                  <c:v>3.2789999999999999</c:v>
                </c:pt>
                <c:pt idx="1548">
                  <c:v>3.2589999999999999</c:v>
                </c:pt>
                <c:pt idx="1549">
                  <c:v>3.2480000000000002</c:v>
                </c:pt>
                <c:pt idx="1550">
                  <c:v>3.24</c:v>
                </c:pt>
                <c:pt idx="1551">
                  <c:v>3.2309999999999999</c:v>
                </c:pt>
                <c:pt idx="1552">
                  <c:v>3.2240000000000002</c:v>
                </c:pt>
                <c:pt idx="1553">
                  <c:v>3.21</c:v>
                </c:pt>
                <c:pt idx="1554">
                  <c:v>3.206</c:v>
                </c:pt>
                <c:pt idx="1555">
                  <c:v>3.2029999999999998</c:v>
                </c:pt>
                <c:pt idx="1556">
                  <c:v>3.2010000000000001</c:v>
                </c:pt>
                <c:pt idx="1557">
                  <c:v>3.1989999999999998</c:v>
                </c:pt>
                <c:pt idx="1558">
                  <c:v>3.2</c:v>
                </c:pt>
                <c:pt idx="1559">
                  <c:v>3.1949999999999998</c:v>
                </c:pt>
                <c:pt idx="1560">
                  <c:v>3.1890000000000001</c:v>
                </c:pt>
                <c:pt idx="1561">
                  <c:v>3.1819999999999999</c:v>
                </c:pt>
                <c:pt idx="1562">
                  <c:v>3.1720000000000002</c:v>
                </c:pt>
                <c:pt idx="1563">
                  <c:v>3.161</c:v>
                </c:pt>
                <c:pt idx="1564">
                  <c:v>3.1440000000000001</c:v>
                </c:pt>
                <c:pt idx="1565">
                  <c:v>3.1179999999999999</c:v>
                </c:pt>
                <c:pt idx="1566">
                  <c:v>3.1040000000000001</c:v>
                </c:pt>
                <c:pt idx="1567">
                  <c:v>3.089</c:v>
                </c:pt>
                <c:pt idx="1568">
                  <c:v>3.0750000000000002</c:v>
                </c:pt>
                <c:pt idx="1569">
                  <c:v>3.0609999999999999</c:v>
                </c:pt>
                <c:pt idx="1570">
                  <c:v>3.0430000000000001</c:v>
                </c:pt>
                <c:pt idx="1571">
                  <c:v>3.0070000000000001</c:v>
                </c:pt>
                <c:pt idx="1572">
                  <c:v>2.992</c:v>
                </c:pt>
                <c:pt idx="1573">
                  <c:v>2.9780000000000002</c:v>
                </c:pt>
                <c:pt idx="1574">
                  <c:v>2.9620000000000002</c:v>
                </c:pt>
                <c:pt idx="1575">
                  <c:v>2.944</c:v>
                </c:pt>
                <c:pt idx="1576">
                  <c:v>2.9279999999999999</c:v>
                </c:pt>
                <c:pt idx="1577">
                  <c:v>2.883</c:v>
                </c:pt>
                <c:pt idx="1578">
                  <c:v>2.867</c:v>
                </c:pt>
                <c:pt idx="1579">
                  <c:v>2.85</c:v>
                </c:pt>
                <c:pt idx="1580">
                  <c:v>2.8309999999999991</c:v>
                </c:pt>
                <c:pt idx="1581">
                  <c:v>2.8210000000000002</c:v>
                </c:pt>
                <c:pt idx="1582">
                  <c:v>2.786</c:v>
                </c:pt>
                <c:pt idx="1583">
                  <c:v>2.7759999999999998</c:v>
                </c:pt>
                <c:pt idx="1584">
                  <c:v>2.7669999999999999</c:v>
                </c:pt>
                <c:pt idx="1585">
                  <c:v>2.766</c:v>
                </c:pt>
                <c:pt idx="1586">
                  <c:v>2.7570000000000001</c:v>
                </c:pt>
                <c:pt idx="1587">
                  <c:v>2.75</c:v>
                </c:pt>
                <c:pt idx="1588">
                  <c:v>2.7330000000000001</c:v>
                </c:pt>
                <c:pt idx="1589">
                  <c:v>2.7309999999999999</c:v>
                </c:pt>
                <c:pt idx="1590">
                  <c:v>2.7290000000000001</c:v>
                </c:pt>
                <c:pt idx="1591">
                  <c:v>2.72</c:v>
                </c:pt>
                <c:pt idx="1592">
                  <c:v>2.7130000000000001</c:v>
                </c:pt>
                <c:pt idx="1593">
                  <c:v>2.702</c:v>
                </c:pt>
                <c:pt idx="1594">
                  <c:v>2.6760000000000002</c:v>
                </c:pt>
                <c:pt idx="1595">
                  <c:v>2.665</c:v>
                </c:pt>
                <c:pt idx="1596">
                  <c:v>2.6560000000000001</c:v>
                </c:pt>
                <c:pt idx="1597">
                  <c:v>2.641</c:v>
                </c:pt>
                <c:pt idx="1598">
                  <c:v>2.6309999999999998</c:v>
                </c:pt>
                <c:pt idx="1599">
                  <c:v>2.6230000000000002</c:v>
                </c:pt>
                <c:pt idx="1600">
                  <c:v>2.6110000000000002</c:v>
                </c:pt>
                <c:pt idx="1601">
                  <c:v>2.605</c:v>
                </c:pt>
                <c:pt idx="1602">
                  <c:v>2.5960000000000001</c:v>
                </c:pt>
                <c:pt idx="1603">
                  <c:v>2.5920000000000001</c:v>
                </c:pt>
                <c:pt idx="1604">
                  <c:v>2.5880000000000001</c:v>
                </c:pt>
                <c:pt idx="1605">
                  <c:v>2.5859999999999999</c:v>
                </c:pt>
                <c:pt idx="1606">
                  <c:v>2.5819999999999999</c:v>
                </c:pt>
                <c:pt idx="1607">
                  <c:v>2.5779999999999998</c:v>
                </c:pt>
                <c:pt idx="1608">
                  <c:v>2.5739999999999998</c:v>
                </c:pt>
                <c:pt idx="1609">
                  <c:v>2.5649999999999999</c:v>
                </c:pt>
                <c:pt idx="1610">
                  <c:v>2.5569999999999991</c:v>
                </c:pt>
                <c:pt idx="1611">
                  <c:v>2.5449999999999999</c:v>
                </c:pt>
                <c:pt idx="1612">
                  <c:v>2.5179999999999998</c:v>
                </c:pt>
                <c:pt idx="1613">
                  <c:v>2.5089999999999999</c:v>
                </c:pt>
                <c:pt idx="1614">
                  <c:v>2.5030000000000001</c:v>
                </c:pt>
                <c:pt idx="1615">
                  <c:v>2.4990000000000001</c:v>
                </c:pt>
                <c:pt idx="1616">
                  <c:v>2.496999999999999</c:v>
                </c:pt>
                <c:pt idx="1617">
                  <c:v>2.496</c:v>
                </c:pt>
                <c:pt idx="1618">
                  <c:v>2.5</c:v>
                </c:pt>
                <c:pt idx="1619">
                  <c:v>2.5019999999999998</c:v>
                </c:pt>
                <c:pt idx="1620">
                  <c:v>2.5019999999999998</c:v>
                </c:pt>
                <c:pt idx="1621">
                  <c:v>2.5059999999999998</c:v>
                </c:pt>
                <c:pt idx="1622">
                  <c:v>2.5070000000000001</c:v>
                </c:pt>
                <c:pt idx="1623">
                  <c:v>2.5110000000000001</c:v>
                </c:pt>
                <c:pt idx="1624">
                  <c:v>2.5179999999999998</c:v>
                </c:pt>
                <c:pt idx="1625">
                  <c:v>2.52</c:v>
                </c:pt>
                <c:pt idx="1626">
                  <c:v>2.5230000000000001</c:v>
                </c:pt>
                <c:pt idx="1627">
                  <c:v>2.5259999999999998</c:v>
                </c:pt>
                <c:pt idx="1628">
                  <c:v>2.5310000000000001</c:v>
                </c:pt>
                <c:pt idx="1629">
                  <c:v>2.536</c:v>
                </c:pt>
                <c:pt idx="1630">
                  <c:v>2.5470000000000002</c:v>
                </c:pt>
                <c:pt idx="1631">
                  <c:v>2.5510000000000002</c:v>
                </c:pt>
                <c:pt idx="1632">
                  <c:v>2.5539999999999998</c:v>
                </c:pt>
                <c:pt idx="1633">
                  <c:v>2.5539999999999998</c:v>
                </c:pt>
                <c:pt idx="1634">
                  <c:v>2.5539999999999998</c:v>
                </c:pt>
                <c:pt idx="1635">
                  <c:v>2.5510000000000002</c:v>
                </c:pt>
                <c:pt idx="1636">
                  <c:v>2.5449999999999999</c:v>
                </c:pt>
                <c:pt idx="1637">
                  <c:v>2.5419999999999998</c:v>
                </c:pt>
                <c:pt idx="1638">
                  <c:v>2.536999999999999</c:v>
                </c:pt>
                <c:pt idx="1639">
                  <c:v>2.5409999999999999</c:v>
                </c:pt>
                <c:pt idx="1640">
                  <c:v>2.54</c:v>
                </c:pt>
                <c:pt idx="1641">
                  <c:v>2.5379999999999998</c:v>
                </c:pt>
                <c:pt idx="1642">
                  <c:v>2.532999999999999</c:v>
                </c:pt>
                <c:pt idx="1643">
                  <c:v>2.532</c:v>
                </c:pt>
                <c:pt idx="1644">
                  <c:v>2.536</c:v>
                </c:pt>
                <c:pt idx="1645">
                  <c:v>2.532999999999999</c:v>
                </c:pt>
                <c:pt idx="1646">
                  <c:v>2.5350000000000001</c:v>
                </c:pt>
                <c:pt idx="1647">
                  <c:v>2.5379999999999998</c:v>
                </c:pt>
                <c:pt idx="1648">
                  <c:v>2.5449999999999999</c:v>
                </c:pt>
                <c:pt idx="1649">
                  <c:v>2.5510000000000002</c:v>
                </c:pt>
                <c:pt idx="1650">
                  <c:v>2.552999999999999</c:v>
                </c:pt>
                <c:pt idx="1651">
                  <c:v>2.5579999999999998</c:v>
                </c:pt>
                <c:pt idx="1652">
                  <c:v>2.5670000000000002</c:v>
                </c:pt>
                <c:pt idx="1653">
                  <c:v>2.58</c:v>
                </c:pt>
                <c:pt idx="1654">
                  <c:v>2.617</c:v>
                </c:pt>
                <c:pt idx="1655">
                  <c:v>2.6280000000000001</c:v>
                </c:pt>
                <c:pt idx="1656">
                  <c:v>2.633</c:v>
                </c:pt>
                <c:pt idx="1657">
                  <c:v>2.6349999999999998</c:v>
                </c:pt>
                <c:pt idx="1658">
                  <c:v>2.633</c:v>
                </c:pt>
                <c:pt idx="1659">
                  <c:v>2.629</c:v>
                </c:pt>
                <c:pt idx="1660">
                  <c:v>2.6219999999999999</c:v>
                </c:pt>
                <c:pt idx="1661">
                  <c:v>2.625</c:v>
                </c:pt>
                <c:pt idx="1662">
                  <c:v>2.62</c:v>
                </c:pt>
                <c:pt idx="1663">
                  <c:v>2.641</c:v>
                </c:pt>
                <c:pt idx="1664">
                  <c:v>2.6619999999999999</c:v>
                </c:pt>
                <c:pt idx="1665">
                  <c:v>2.6379999999999999</c:v>
                </c:pt>
                <c:pt idx="1666">
                  <c:v>2.6579999999999999</c:v>
                </c:pt>
                <c:pt idx="1667">
                  <c:v>2.6459999999999999</c:v>
                </c:pt>
                <c:pt idx="1668">
                  <c:v>2.65</c:v>
                </c:pt>
                <c:pt idx="1669">
                  <c:v>2.62</c:v>
                </c:pt>
                <c:pt idx="1670">
                  <c:v>2.6139999999999999</c:v>
                </c:pt>
                <c:pt idx="1671">
                  <c:v>2.5939999999999999</c:v>
                </c:pt>
                <c:pt idx="1672">
                  <c:v>2.59</c:v>
                </c:pt>
                <c:pt idx="1673">
                  <c:v>2.597</c:v>
                </c:pt>
                <c:pt idx="1674">
                  <c:v>2.6019999999999999</c:v>
                </c:pt>
                <c:pt idx="1675">
                  <c:v>2.621</c:v>
                </c:pt>
                <c:pt idx="1676">
                  <c:v>2.6</c:v>
                </c:pt>
                <c:pt idx="1677">
                  <c:v>2.5939999999999999</c:v>
                </c:pt>
                <c:pt idx="1678">
                  <c:v>2.597</c:v>
                </c:pt>
                <c:pt idx="1679">
                  <c:v>2.6190000000000002</c:v>
                </c:pt>
                <c:pt idx="1680">
                  <c:v>2.6280000000000001</c:v>
                </c:pt>
                <c:pt idx="1681">
                  <c:v>2.6429999999999998</c:v>
                </c:pt>
                <c:pt idx="1682">
                  <c:v>2.6850000000000001</c:v>
                </c:pt>
                <c:pt idx="1683">
                  <c:v>2.524</c:v>
                </c:pt>
                <c:pt idx="1684">
                  <c:v>2.552999999999999</c:v>
                </c:pt>
                <c:pt idx="1685">
                  <c:v>2.5819999999999999</c:v>
                </c:pt>
                <c:pt idx="1686">
                  <c:v>2.5939999999999999</c:v>
                </c:pt>
                <c:pt idx="1687">
                  <c:v>2.5960000000000001</c:v>
                </c:pt>
                <c:pt idx="1688">
                  <c:v>2.5920000000000001</c:v>
                </c:pt>
                <c:pt idx="1689">
                  <c:v>2.577</c:v>
                </c:pt>
                <c:pt idx="1690">
                  <c:v>2.548</c:v>
                </c:pt>
                <c:pt idx="1691">
                  <c:v>2.5310000000000001</c:v>
                </c:pt>
                <c:pt idx="1692">
                  <c:v>2.5150000000000001</c:v>
                </c:pt>
                <c:pt idx="1693">
                  <c:v>2.4990000000000001</c:v>
                </c:pt>
                <c:pt idx="1694">
                  <c:v>2.496</c:v>
                </c:pt>
                <c:pt idx="1695">
                  <c:v>2.4820000000000002</c:v>
                </c:pt>
                <c:pt idx="1696">
                  <c:v>2.4740000000000002</c:v>
                </c:pt>
                <c:pt idx="1697">
                  <c:v>2.4559999999999991</c:v>
                </c:pt>
                <c:pt idx="1698">
                  <c:v>2.4470000000000001</c:v>
                </c:pt>
                <c:pt idx="1699">
                  <c:v>2.448</c:v>
                </c:pt>
                <c:pt idx="1700">
                  <c:v>2.44</c:v>
                </c:pt>
                <c:pt idx="1701">
                  <c:v>2.4380000000000002</c:v>
                </c:pt>
                <c:pt idx="1702">
                  <c:v>2.4350000000000001</c:v>
                </c:pt>
                <c:pt idx="1703">
                  <c:v>2.427</c:v>
                </c:pt>
                <c:pt idx="1704">
                  <c:v>2.4239999999999999</c:v>
                </c:pt>
                <c:pt idx="1705">
                  <c:v>2.44</c:v>
                </c:pt>
                <c:pt idx="1706">
                  <c:v>2.4390000000000001</c:v>
                </c:pt>
                <c:pt idx="1707">
                  <c:v>2.44</c:v>
                </c:pt>
                <c:pt idx="1708">
                  <c:v>2.4329999999999989</c:v>
                </c:pt>
                <c:pt idx="1709">
                  <c:v>2.4319999999999991</c:v>
                </c:pt>
                <c:pt idx="1710">
                  <c:v>2.4300000000000002</c:v>
                </c:pt>
                <c:pt idx="1711">
                  <c:v>2.411</c:v>
                </c:pt>
                <c:pt idx="1712">
                  <c:v>2.41</c:v>
                </c:pt>
                <c:pt idx="1713">
                  <c:v>2.4049999999999998</c:v>
                </c:pt>
                <c:pt idx="1714">
                  <c:v>2.411999999999999</c:v>
                </c:pt>
                <c:pt idx="1715">
                  <c:v>2.41</c:v>
                </c:pt>
                <c:pt idx="1716">
                  <c:v>2.4089999999999998</c:v>
                </c:pt>
                <c:pt idx="1717">
                  <c:v>2.4049999999999998</c:v>
                </c:pt>
                <c:pt idx="1718">
                  <c:v>2.4</c:v>
                </c:pt>
                <c:pt idx="1719">
                  <c:v>2.391</c:v>
                </c:pt>
                <c:pt idx="1720">
                  <c:v>2.3769999999999989</c:v>
                </c:pt>
                <c:pt idx="1721">
                  <c:v>2.379</c:v>
                </c:pt>
                <c:pt idx="1722">
                  <c:v>2.391999999999999</c:v>
                </c:pt>
                <c:pt idx="1723">
                  <c:v>2.41</c:v>
                </c:pt>
                <c:pt idx="1724">
                  <c:v>2.4260000000000002</c:v>
                </c:pt>
                <c:pt idx="1725">
                  <c:v>2.4289999999999998</c:v>
                </c:pt>
                <c:pt idx="1726">
                  <c:v>2.4329999999999989</c:v>
                </c:pt>
                <c:pt idx="1727">
                  <c:v>2.4260000000000002</c:v>
                </c:pt>
                <c:pt idx="1728">
                  <c:v>2.415999999999999</c:v>
                </c:pt>
                <c:pt idx="1729">
                  <c:v>2.4009999999999998</c:v>
                </c:pt>
                <c:pt idx="1730">
                  <c:v>2.3340000000000001</c:v>
                </c:pt>
                <c:pt idx="1731">
                  <c:v>2.3170000000000002</c:v>
                </c:pt>
                <c:pt idx="1732">
                  <c:v>2.306</c:v>
                </c:pt>
                <c:pt idx="1733">
                  <c:v>2.2869999999999999</c:v>
                </c:pt>
                <c:pt idx="1734">
                  <c:v>2.2730000000000001</c:v>
                </c:pt>
                <c:pt idx="1735">
                  <c:v>2.2850000000000001</c:v>
                </c:pt>
                <c:pt idx="1736">
                  <c:v>2.2959999999999998</c:v>
                </c:pt>
                <c:pt idx="1737">
                  <c:v>2.3039999999999998</c:v>
                </c:pt>
                <c:pt idx="1738">
                  <c:v>2.3069999999999991</c:v>
                </c:pt>
                <c:pt idx="1739">
                  <c:v>2.3109999999999991</c:v>
                </c:pt>
                <c:pt idx="1740">
                  <c:v>2.3130000000000002</c:v>
                </c:pt>
                <c:pt idx="1741">
                  <c:v>2.306</c:v>
                </c:pt>
                <c:pt idx="1742">
                  <c:v>2.3090000000000002</c:v>
                </c:pt>
                <c:pt idx="1743">
                  <c:v>2.3050000000000002</c:v>
                </c:pt>
                <c:pt idx="1744">
                  <c:v>2.3050000000000002</c:v>
                </c:pt>
                <c:pt idx="1745">
                  <c:v>2.3180000000000001</c:v>
                </c:pt>
                <c:pt idx="1746">
                  <c:v>2.335999999999999</c:v>
                </c:pt>
                <c:pt idx="1747">
                  <c:v>2.351999999999999</c:v>
                </c:pt>
                <c:pt idx="1748">
                  <c:v>2.3540000000000001</c:v>
                </c:pt>
                <c:pt idx="1749">
                  <c:v>2.355999999999999</c:v>
                </c:pt>
                <c:pt idx="1750">
                  <c:v>2.3580000000000001</c:v>
                </c:pt>
                <c:pt idx="1751">
                  <c:v>2.3159999999999989</c:v>
                </c:pt>
                <c:pt idx="1752">
                  <c:v>2.3159999999999989</c:v>
                </c:pt>
                <c:pt idx="1753">
                  <c:v>2.3159999999999989</c:v>
                </c:pt>
                <c:pt idx="1754">
                  <c:v>2.3140000000000001</c:v>
                </c:pt>
                <c:pt idx="1755">
                  <c:v>2.3119999999999989</c:v>
                </c:pt>
                <c:pt idx="1756">
                  <c:v>2.3090000000000002</c:v>
                </c:pt>
                <c:pt idx="1757">
                  <c:v>2.3039999999999998</c:v>
                </c:pt>
                <c:pt idx="1758">
                  <c:v>2.3010000000000002</c:v>
                </c:pt>
                <c:pt idx="1759">
                  <c:v>2.298</c:v>
                </c:pt>
                <c:pt idx="1760">
                  <c:v>2.2949999999999999</c:v>
                </c:pt>
                <c:pt idx="1761">
                  <c:v>2.2930000000000001</c:v>
                </c:pt>
                <c:pt idx="1762">
                  <c:v>2.2909999999999999</c:v>
                </c:pt>
                <c:pt idx="1763">
                  <c:v>2.2839999999999998</c:v>
                </c:pt>
                <c:pt idx="1764">
                  <c:v>2.2829999999999999</c:v>
                </c:pt>
                <c:pt idx="1765">
                  <c:v>2.282</c:v>
                </c:pt>
                <c:pt idx="1766">
                  <c:v>2.286</c:v>
                </c:pt>
                <c:pt idx="1767">
                  <c:v>2.2869999999999999</c:v>
                </c:pt>
                <c:pt idx="1768">
                  <c:v>2.29</c:v>
                </c:pt>
                <c:pt idx="1769">
                  <c:v>2.286</c:v>
                </c:pt>
                <c:pt idx="1770">
                  <c:v>2.2879999999999998</c:v>
                </c:pt>
                <c:pt idx="1771">
                  <c:v>2.2919999999999998</c:v>
                </c:pt>
                <c:pt idx="1772">
                  <c:v>2.2919999999999998</c:v>
                </c:pt>
                <c:pt idx="1773">
                  <c:v>2.2959999999999998</c:v>
                </c:pt>
                <c:pt idx="1774">
                  <c:v>2.2959999999999998</c:v>
                </c:pt>
                <c:pt idx="1775">
                  <c:v>2.3090000000000002</c:v>
                </c:pt>
                <c:pt idx="1776">
                  <c:v>2.3109999999999991</c:v>
                </c:pt>
                <c:pt idx="1777">
                  <c:v>2.3109999999999991</c:v>
                </c:pt>
                <c:pt idx="1778">
                  <c:v>2.3109999999999991</c:v>
                </c:pt>
                <c:pt idx="1779">
                  <c:v>2.3109999999999991</c:v>
                </c:pt>
                <c:pt idx="1780">
                  <c:v>2.3069999999999991</c:v>
                </c:pt>
                <c:pt idx="1781">
                  <c:v>2.3050000000000002</c:v>
                </c:pt>
                <c:pt idx="1782">
                  <c:v>2.302</c:v>
                </c:pt>
                <c:pt idx="1783">
                  <c:v>2.3039999999999998</c:v>
                </c:pt>
                <c:pt idx="1784">
                  <c:v>2.3050000000000002</c:v>
                </c:pt>
                <c:pt idx="1785">
                  <c:v>2.3090000000000002</c:v>
                </c:pt>
                <c:pt idx="1786">
                  <c:v>2.3159999999999989</c:v>
                </c:pt>
                <c:pt idx="1787">
                  <c:v>2.3220000000000001</c:v>
                </c:pt>
                <c:pt idx="1788">
                  <c:v>2.327</c:v>
                </c:pt>
                <c:pt idx="1789">
                  <c:v>2.3290000000000002</c:v>
                </c:pt>
                <c:pt idx="1790">
                  <c:v>2.3290000000000002</c:v>
                </c:pt>
                <c:pt idx="1791">
                  <c:v>2.3260000000000001</c:v>
                </c:pt>
                <c:pt idx="1792">
                  <c:v>2.319999999999999</c:v>
                </c:pt>
                <c:pt idx="1793">
                  <c:v>2.3159999999999989</c:v>
                </c:pt>
                <c:pt idx="1794">
                  <c:v>2.3140000000000001</c:v>
                </c:pt>
                <c:pt idx="1795">
                  <c:v>2.3149999999999991</c:v>
                </c:pt>
                <c:pt idx="1796">
                  <c:v>2.31</c:v>
                </c:pt>
                <c:pt idx="1797">
                  <c:v>2.306</c:v>
                </c:pt>
                <c:pt idx="1798">
                  <c:v>2.2989999999999999</c:v>
                </c:pt>
                <c:pt idx="1799">
                  <c:v>2.2949999999999999</c:v>
                </c:pt>
                <c:pt idx="1800">
                  <c:v>2.29</c:v>
                </c:pt>
                <c:pt idx="1801">
                  <c:v>2.286</c:v>
                </c:pt>
                <c:pt idx="1802">
                  <c:v>2.2829999999999999</c:v>
                </c:pt>
                <c:pt idx="1803">
                  <c:v>2.2799999999999998</c:v>
                </c:pt>
                <c:pt idx="1804">
                  <c:v>2.2730000000000001</c:v>
                </c:pt>
                <c:pt idx="1805">
                  <c:v>2.2749999999999999</c:v>
                </c:pt>
                <c:pt idx="1806">
                  <c:v>2.2690000000000001</c:v>
                </c:pt>
                <c:pt idx="1807">
                  <c:v>2.2629999999999999</c:v>
                </c:pt>
                <c:pt idx="1808">
                  <c:v>2.2599999999999998</c:v>
                </c:pt>
                <c:pt idx="1809">
                  <c:v>2.2589999999999999</c:v>
                </c:pt>
                <c:pt idx="1810">
                  <c:v>2.2570000000000001</c:v>
                </c:pt>
                <c:pt idx="1811">
                  <c:v>2.2559999999999998</c:v>
                </c:pt>
                <c:pt idx="1812">
                  <c:v>2.2629999999999999</c:v>
                </c:pt>
                <c:pt idx="1813">
                  <c:v>2.2690000000000001</c:v>
                </c:pt>
                <c:pt idx="1814">
                  <c:v>2.2730000000000001</c:v>
                </c:pt>
                <c:pt idx="1815">
                  <c:v>2.282</c:v>
                </c:pt>
                <c:pt idx="1816">
                  <c:v>2.2890000000000001</c:v>
                </c:pt>
                <c:pt idx="1817">
                  <c:v>2.2989999999999999</c:v>
                </c:pt>
                <c:pt idx="1818">
                  <c:v>2.302</c:v>
                </c:pt>
                <c:pt idx="1819">
                  <c:v>2.302</c:v>
                </c:pt>
                <c:pt idx="1820">
                  <c:v>2.302</c:v>
                </c:pt>
                <c:pt idx="1821">
                  <c:v>2.3050000000000002</c:v>
                </c:pt>
                <c:pt idx="1822">
                  <c:v>2.306</c:v>
                </c:pt>
                <c:pt idx="1823">
                  <c:v>2.2970000000000002</c:v>
                </c:pt>
                <c:pt idx="1824">
                  <c:v>2.2919999999999998</c:v>
                </c:pt>
                <c:pt idx="1825">
                  <c:v>2.2879999999999998</c:v>
                </c:pt>
                <c:pt idx="1826">
                  <c:v>2.2909999999999999</c:v>
                </c:pt>
                <c:pt idx="1827">
                  <c:v>2.2829999999999999</c:v>
                </c:pt>
                <c:pt idx="1828">
                  <c:v>2.2850000000000001</c:v>
                </c:pt>
                <c:pt idx="1829">
                  <c:v>2.282</c:v>
                </c:pt>
                <c:pt idx="1830">
                  <c:v>2.282</c:v>
                </c:pt>
                <c:pt idx="1831">
                  <c:v>2.2810000000000001</c:v>
                </c:pt>
                <c:pt idx="1832">
                  <c:v>2.2770000000000001</c:v>
                </c:pt>
                <c:pt idx="1833">
                  <c:v>2.2810000000000001</c:v>
                </c:pt>
                <c:pt idx="1834">
                  <c:v>2.2799999999999998</c:v>
                </c:pt>
                <c:pt idx="1835">
                  <c:v>2.2869999999999999</c:v>
                </c:pt>
                <c:pt idx="1836">
                  <c:v>2.2869999999999999</c:v>
                </c:pt>
                <c:pt idx="1837">
                  <c:v>2.2879999999999998</c:v>
                </c:pt>
                <c:pt idx="1838">
                  <c:v>2.294</c:v>
                </c:pt>
                <c:pt idx="1839">
                  <c:v>2.294</c:v>
                </c:pt>
                <c:pt idx="1840">
                  <c:v>2.2949999999999999</c:v>
                </c:pt>
                <c:pt idx="1841">
                  <c:v>2.298</c:v>
                </c:pt>
                <c:pt idx="1842">
                  <c:v>2.3039999999999998</c:v>
                </c:pt>
                <c:pt idx="1843">
                  <c:v>2.3410000000000002</c:v>
                </c:pt>
                <c:pt idx="1844">
                  <c:v>2.375999999999999</c:v>
                </c:pt>
                <c:pt idx="1845">
                  <c:v>2.3740000000000001</c:v>
                </c:pt>
                <c:pt idx="1846">
                  <c:v>2.375999999999999</c:v>
                </c:pt>
                <c:pt idx="1847">
                  <c:v>2.37</c:v>
                </c:pt>
                <c:pt idx="1848">
                  <c:v>2.367</c:v>
                </c:pt>
                <c:pt idx="1849">
                  <c:v>2.3380000000000001</c:v>
                </c:pt>
                <c:pt idx="1850">
                  <c:v>2.3039999999999998</c:v>
                </c:pt>
                <c:pt idx="1851">
                  <c:v>2.3039999999999998</c:v>
                </c:pt>
                <c:pt idx="1852">
                  <c:v>2.3010000000000002</c:v>
                </c:pt>
                <c:pt idx="1853">
                  <c:v>2.298</c:v>
                </c:pt>
                <c:pt idx="1854">
                  <c:v>2.2959999999999998</c:v>
                </c:pt>
                <c:pt idx="1855">
                  <c:v>2.2879999999999998</c:v>
                </c:pt>
                <c:pt idx="1856">
                  <c:v>2.2879999999999998</c:v>
                </c:pt>
                <c:pt idx="1857">
                  <c:v>2.2919999999999998</c:v>
                </c:pt>
                <c:pt idx="1858">
                  <c:v>2.2919999999999998</c:v>
                </c:pt>
                <c:pt idx="1859">
                  <c:v>2.2970000000000002</c:v>
                </c:pt>
                <c:pt idx="1860">
                  <c:v>2.2959999999999998</c:v>
                </c:pt>
                <c:pt idx="1861">
                  <c:v>2.302</c:v>
                </c:pt>
                <c:pt idx="1862">
                  <c:v>2.298</c:v>
                </c:pt>
                <c:pt idx="1863">
                  <c:v>2.278</c:v>
                </c:pt>
                <c:pt idx="1864">
                  <c:v>2.2730000000000001</c:v>
                </c:pt>
                <c:pt idx="1865">
                  <c:v>2.27</c:v>
                </c:pt>
                <c:pt idx="1866">
                  <c:v>2.2629999999999999</c:v>
                </c:pt>
                <c:pt idx="1867">
                  <c:v>2.2650000000000001</c:v>
                </c:pt>
                <c:pt idx="1868">
                  <c:v>2.2669999999999999</c:v>
                </c:pt>
                <c:pt idx="1869">
                  <c:v>2.2639999999999998</c:v>
                </c:pt>
                <c:pt idx="1870">
                  <c:v>2.2759999999999998</c:v>
                </c:pt>
                <c:pt idx="1871">
                  <c:v>2.2759999999999998</c:v>
                </c:pt>
                <c:pt idx="1872">
                  <c:v>2.27</c:v>
                </c:pt>
                <c:pt idx="1873">
                  <c:v>2.2599999999999998</c:v>
                </c:pt>
                <c:pt idx="1874">
                  <c:v>2.2570000000000001</c:v>
                </c:pt>
                <c:pt idx="1875">
                  <c:v>2.2559999999999998</c:v>
                </c:pt>
                <c:pt idx="1876">
                  <c:v>2.2389999999999999</c:v>
                </c:pt>
                <c:pt idx="1877">
                  <c:v>2.234</c:v>
                </c:pt>
                <c:pt idx="1878">
                  <c:v>2.2370000000000001</c:v>
                </c:pt>
                <c:pt idx="1879">
                  <c:v>2.2549999999999999</c:v>
                </c:pt>
                <c:pt idx="1880">
                  <c:v>2.2690000000000001</c:v>
                </c:pt>
                <c:pt idx="1881">
                  <c:v>2.2930000000000001</c:v>
                </c:pt>
                <c:pt idx="1882">
                  <c:v>2.2999999999999998</c:v>
                </c:pt>
                <c:pt idx="1883">
                  <c:v>2.302999999999999</c:v>
                </c:pt>
                <c:pt idx="1884">
                  <c:v>2.3109999999999991</c:v>
                </c:pt>
                <c:pt idx="1885">
                  <c:v>2.3119999999999989</c:v>
                </c:pt>
                <c:pt idx="1886">
                  <c:v>2.298</c:v>
                </c:pt>
                <c:pt idx="1887">
                  <c:v>2.278</c:v>
                </c:pt>
                <c:pt idx="1888">
                  <c:v>2.2719999999999998</c:v>
                </c:pt>
                <c:pt idx="1889">
                  <c:v>2.2770000000000001</c:v>
                </c:pt>
                <c:pt idx="1890">
                  <c:v>2.27</c:v>
                </c:pt>
                <c:pt idx="1891">
                  <c:v>2.2570000000000001</c:v>
                </c:pt>
                <c:pt idx="1892">
                  <c:v>2.2629999999999999</c:v>
                </c:pt>
                <c:pt idx="1893">
                  <c:v>2.2679999999999998</c:v>
                </c:pt>
                <c:pt idx="1894">
                  <c:v>2.2730000000000001</c:v>
                </c:pt>
                <c:pt idx="1895">
                  <c:v>2.2770000000000001</c:v>
                </c:pt>
                <c:pt idx="1896">
                  <c:v>2.27</c:v>
                </c:pt>
                <c:pt idx="1897">
                  <c:v>2.262</c:v>
                </c:pt>
                <c:pt idx="1898">
                  <c:v>2.2559999999999998</c:v>
                </c:pt>
                <c:pt idx="1899">
                  <c:v>2.2519999999999998</c:v>
                </c:pt>
                <c:pt idx="1900">
                  <c:v>2.254</c:v>
                </c:pt>
                <c:pt idx="1901">
                  <c:v>2.25</c:v>
                </c:pt>
                <c:pt idx="1902">
                  <c:v>2.258</c:v>
                </c:pt>
                <c:pt idx="1903">
                  <c:v>2.266</c:v>
                </c:pt>
                <c:pt idx="1904">
                  <c:v>2.266</c:v>
                </c:pt>
                <c:pt idx="1905">
                  <c:v>2.2789999999999999</c:v>
                </c:pt>
                <c:pt idx="1906">
                  <c:v>2.2730000000000001</c:v>
                </c:pt>
                <c:pt idx="1907">
                  <c:v>2.266</c:v>
                </c:pt>
                <c:pt idx="1908">
                  <c:v>2.27</c:v>
                </c:pt>
                <c:pt idx="1909">
                  <c:v>2.274</c:v>
                </c:pt>
                <c:pt idx="1910">
                  <c:v>2.286</c:v>
                </c:pt>
                <c:pt idx="1911">
                  <c:v>2.2789999999999999</c:v>
                </c:pt>
                <c:pt idx="1912">
                  <c:v>2.2890000000000001</c:v>
                </c:pt>
                <c:pt idx="1913">
                  <c:v>2.3090000000000002</c:v>
                </c:pt>
                <c:pt idx="1914">
                  <c:v>2.3149999999999991</c:v>
                </c:pt>
                <c:pt idx="1915">
                  <c:v>2.3159999999999989</c:v>
                </c:pt>
                <c:pt idx="1916">
                  <c:v>2.3159999999999989</c:v>
                </c:pt>
                <c:pt idx="1917">
                  <c:v>2.327</c:v>
                </c:pt>
                <c:pt idx="1918">
                  <c:v>2.3380000000000001</c:v>
                </c:pt>
                <c:pt idx="1919">
                  <c:v>2.3389999999999991</c:v>
                </c:pt>
                <c:pt idx="1920">
                  <c:v>2.3479999999999999</c:v>
                </c:pt>
                <c:pt idx="1921">
                  <c:v>2.35</c:v>
                </c:pt>
                <c:pt idx="1922">
                  <c:v>2.351999999999999</c:v>
                </c:pt>
                <c:pt idx="1923">
                  <c:v>2.347</c:v>
                </c:pt>
                <c:pt idx="1924">
                  <c:v>2.351999999999999</c:v>
                </c:pt>
                <c:pt idx="1925">
                  <c:v>2.3549999999999991</c:v>
                </c:pt>
                <c:pt idx="1926">
                  <c:v>2.3540000000000001</c:v>
                </c:pt>
                <c:pt idx="1927">
                  <c:v>2.3589999999999991</c:v>
                </c:pt>
                <c:pt idx="1928">
                  <c:v>2.3589999999999991</c:v>
                </c:pt>
                <c:pt idx="1929">
                  <c:v>2.3610000000000002</c:v>
                </c:pt>
                <c:pt idx="1930">
                  <c:v>2.3650000000000002</c:v>
                </c:pt>
                <c:pt idx="1931">
                  <c:v>2.3620000000000001</c:v>
                </c:pt>
                <c:pt idx="1932">
                  <c:v>2.3610000000000002</c:v>
                </c:pt>
                <c:pt idx="1933">
                  <c:v>2.363</c:v>
                </c:pt>
                <c:pt idx="1934">
                  <c:v>2.3610000000000002</c:v>
                </c:pt>
                <c:pt idx="1935">
                  <c:v>2.355999999999999</c:v>
                </c:pt>
                <c:pt idx="1936">
                  <c:v>2.35</c:v>
                </c:pt>
                <c:pt idx="1937">
                  <c:v>2.3420000000000001</c:v>
                </c:pt>
                <c:pt idx="1938">
                  <c:v>2.3370000000000002</c:v>
                </c:pt>
                <c:pt idx="1939">
                  <c:v>2.3309999999999991</c:v>
                </c:pt>
                <c:pt idx="1940">
                  <c:v>2.331999999999999</c:v>
                </c:pt>
                <c:pt idx="1941">
                  <c:v>2.335999999999999</c:v>
                </c:pt>
                <c:pt idx="1942">
                  <c:v>2.3349999999999991</c:v>
                </c:pt>
                <c:pt idx="1943">
                  <c:v>2.3349999999999991</c:v>
                </c:pt>
                <c:pt idx="1944">
                  <c:v>2.3439999999999999</c:v>
                </c:pt>
                <c:pt idx="1945">
                  <c:v>2.3540000000000001</c:v>
                </c:pt>
                <c:pt idx="1946">
                  <c:v>2.367</c:v>
                </c:pt>
                <c:pt idx="1947">
                  <c:v>2.3780000000000001</c:v>
                </c:pt>
                <c:pt idx="1948">
                  <c:v>2.41</c:v>
                </c:pt>
                <c:pt idx="1949">
                  <c:v>2.4289999999999998</c:v>
                </c:pt>
                <c:pt idx="1950">
                  <c:v>2.4329999999999989</c:v>
                </c:pt>
                <c:pt idx="1951">
                  <c:v>2.4359999999999991</c:v>
                </c:pt>
                <c:pt idx="1952">
                  <c:v>2.4369999999999989</c:v>
                </c:pt>
                <c:pt idx="1953">
                  <c:v>2.44</c:v>
                </c:pt>
                <c:pt idx="1954">
                  <c:v>2.4359999999999991</c:v>
                </c:pt>
                <c:pt idx="1955">
                  <c:v>2.4300000000000002</c:v>
                </c:pt>
                <c:pt idx="1956">
                  <c:v>2.4249999999999998</c:v>
                </c:pt>
                <c:pt idx="1957">
                  <c:v>2.419</c:v>
                </c:pt>
                <c:pt idx="1958">
                  <c:v>2.431</c:v>
                </c:pt>
              </c:numCache>
            </c:numRef>
          </c:val>
          <c:smooth val="0"/>
          <c:extLst>
            <c:ext xmlns:c16="http://schemas.microsoft.com/office/drawing/2014/chart" uri="{C3380CC4-5D6E-409C-BE32-E72D297353CC}">
              <c16:uniqueId val="{00000000-4C95-4845-A899-39A43775F9CF}"/>
            </c:ext>
          </c:extLst>
        </c:ser>
        <c:ser>
          <c:idx val="1"/>
          <c:order val="1"/>
          <c:tx>
            <c:strRef>
              <c:f>file!$J$1</c:f>
              <c:strCache>
                <c:ptCount val="1"/>
                <c:pt idx="0">
                  <c:v>SHIBOR (overnight)</c:v>
                </c:pt>
              </c:strCache>
            </c:strRef>
          </c:tx>
          <c:spPr>
            <a:ln w="19050" cap="rnd">
              <a:solidFill>
                <a:srgbClr val="E75B5B"/>
              </a:solidFill>
              <a:round/>
            </a:ln>
            <a:effectLst/>
          </c:spPr>
          <c:marker>
            <c:symbol val="none"/>
          </c:marker>
          <c:cat>
            <c:numRef>
              <c:f>file!$C$2:$C$1962</c:f>
              <c:numCache>
                <c:formatCode>m/d/yyyy</c:formatCode>
                <c:ptCount val="1961"/>
                <c:pt idx="0">
                  <c:v>41424</c:v>
                </c:pt>
                <c:pt idx="1">
                  <c:v>41427</c:v>
                </c:pt>
                <c:pt idx="2">
                  <c:v>41428</c:v>
                </c:pt>
                <c:pt idx="3">
                  <c:v>41429</c:v>
                </c:pt>
                <c:pt idx="4">
                  <c:v>41430</c:v>
                </c:pt>
                <c:pt idx="5">
                  <c:v>41431</c:v>
                </c:pt>
                <c:pt idx="6">
                  <c:v>41432</c:v>
                </c:pt>
                <c:pt idx="7">
                  <c:v>41437</c:v>
                </c:pt>
                <c:pt idx="8">
                  <c:v>41438</c:v>
                </c:pt>
                <c:pt idx="9">
                  <c:v>41439</c:v>
                </c:pt>
                <c:pt idx="10">
                  <c:v>41441</c:v>
                </c:pt>
                <c:pt idx="11">
                  <c:v>41442</c:v>
                </c:pt>
                <c:pt idx="12">
                  <c:v>41443</c:v>
                </c:pt>
                <c:pt idx="13">
                  <c:v>41444</c:v>
                </c:pt>
                <c:pt idx="14">
                  <c:v>41445</c:v>
                </c:pt>
                <c:pt idx="15">
                  <c:v>41446</c:v>
                </c:pt>
                <c:pt idx="16">
                  <c:v>41448</c:v>
                </c:pt>
                <c:pt idx="17">
                  <c:v>41449</c:v>
                </c:pt>
                <c:pt idx="18">
                  <c:v>41450</c:v>
                </c:pt>
                <c:pt idx="19">
                  <c:v>41451</c:v>
                </c:pt>
                <c:pt idx="20">
                  <c:v>41452</c:v>
                </c:pt>
                <c:pt idx="21">
                  <c:v>41453</c:v>
                </c:pt>
                <c:pt idx="22">
                  <c:v>41455</c:v>
                </c:pt>
                <c:pt idx="23">
                  <c:v>41456</c:v>
                </c:pt>
                <c:pt idx="24">
                  <c:v>41457</c:v>
                </c:pt>
                <c:pt idx="25">
                  <c:v>41458</c:v>
                </c:pt>
                <c:pt idx="26">
                  <c:v>41459</c:v>
                </c:pt>
                <c:pt idx="27">
                  <c:v>41460</c:v>
                </c:pt>
                <c:pt idx="28">
                  <c:v>41462</c:v>
                </c:pt>
                <c:pt idx="29">
                  <c:v>41463</c:v>
                </c:pt>
                <c:pt idx="30">
                  <c:v>41464</c:v>
                </c:pt>
                <c:pt idx="31">
                  <c:v>41465</c:v>
                </c:pt>
                <c:pt idx="32">
                  <c:v>41466</c:v>
                </c:pt>
                <c:pt idx="33">
                  <c:v>41467</c:v>
                </c:pt>
                <c:pt idx="34">
                  <c:v>41469</c:v>
                </c:pt>
                <c:pt idx="35">
                  <c:v>41470</c:v>
                </c:pt>
                <c:pt idx="36">
                  <c:v>41471</c:v>
                </c:pt>
                <c:pt idx="37">
                  <c:v>41472</c:v>
                </c:pt>
                <c:pt idx="38">
                  <c:v>41473</c:v>
                </c:pt>
                <c:pt idx="39">
                  <c:v>41474</c:v>
                </c:pt>
                <c:pt idx="40">
                  <c:v>41476</c:v>
                </c:pt>
                <c:pt idx="41">
                  <c:v>41477</c:v>
                </c:pt>
                <c:pt idx="42">
                  <c:v>41478</c:v>
                </c:pt>
                <c:pt idx="43">
                  <c:v>41479</c:v>
                </c:pt>
                <c:pt idx="44">
                  <c:v>41480</c:v>
                </c:pt>
                <c:pt idx="45">
                  <c:v>41481</c:v>
                </c:pt>
                <c:pt idx="46">
                  <c:v>41483</c:v>
                </c:pt>
                <c:pt idx="47">
                  <c:v>41484</c:v>
                </c:pt>
                <c:pt idx="48">
                  <c:v>41485</c:v>
                </c:pt>
                <c:pt idx="49">
                  <c:v>41486</c:v>
                </c:pt>
                <c:pt idx="50">
                  <c:v>41487</c:v>
                </c:pt>
                <c:pt idx="51">
                  <c:v>41488</c:v>
                </c:pt>
                <c:pt idx="52">
                  <c:v>41490</c:v>
                </c:pt>
                <c:pt idx="53">
                  <c:v>41491</c:v>
                </c:pt>
                <c:pt idx="54">
                  <c:v>41492</c:v>
                </c:pt>
                <c:pt idx="55">
                  <c:v>41493</c:v>
                </c:pt>
                <c:pt idx="56">
                  <c:v>41494</c:v>
                </c:pt>
                <c:pt idx="57">
                  <c:v>41495</c:v>
                </c:pt>
                <c:pt idx="58">
                  <c:v>41497</c:v>
                </c:pt>
                <c:pt idx="59">
                  <c:v>41498</c:v>
                </c:pt>
                <c:pt idx="60">
                  <c:v>41499</c:v>
                </c:pt>
                <c:pt idx="61">
                  <c:v>41500</c:v>
                </c:pt>
                <c:pt idx="62">
                  <c:v>41501</c:v>
                </c:pt>
                <c:pt idx="63">
                  <c:v>41502</c:v>
                </c:pt>
                <c:pt idx="64">
                  <c:v>41504</c:v>
                </c:pt>
                <c:pt idx="65">
                  <c:v>41505</c:v>
                </c:pt>
                <c:pt idx="66">
                  <c:v>41506</c:v>
                </c:pt>
                <c:pt idx="67">
                  <c:v>41507</c:v>
                </c:pt>
                <c:pt idx="68">
                  <c:v>41508</c:v>
                </c:pt>
                <c:pt idx="69">
                  <c:v>41509</c:v>
                </c:pt>
                <c:pt idx="70">
                  <c:v>41511</c:v>
                </c:pt>
                <c:pt idx="71">
                  <c:v>41512</c:v>
                </c:pt>
                <c:pt idx="72">
                  <c:v>41513</c:v>
                </c:pt>
                <c:pt idx="73">
                  <c:v>41514</c:v>
                </c:pt>
                <c:pt idx="74">
                  <c:v>41515</c:v>
                </c:pt>
                <c:pt idx="75">
                  <c:v>41516</c:v>
                </c:pt>
                <c:pt idx="76">
                  <c:v>41518</c:v>
                </c:pt>
                <c:pt idx="77">
                  <c:v>41519</c:v>
                </c:pt>
                <c:pt idx="78">
                  <c:v>41520</c:v>
                </c:pt>
                <c:pt idx="79">
                  <c:v>41521</c:v>
                </c:pt>
                <c:pt idx="80">
                  <c:v>41522</c:v>
                </c:pt>
                <c:pt idx="81">
                  <c:v>41523</c:v>
                </c:pt>
                <c:pt idx="82">
                  <c:v>41525</c:v>
                </c:pt>
                <c:pt idx="83">
                  <c:v>41526</c:v>
                </c:pt>
                <c:pt idx="84">
                  <c:v>41527</c:v>
                </c:pt>
                <c:pt idx="85">
                  <c:v>41528</c:v>
                </c:pt>
                <c:pt idx="86">
                  <c:v>41529</c:v>
                </c:pt>
                <c:pt idx="87">
                  <c:v>41530</c:v>
                </c:pt>
                <c:pt idx="88">
                  <c:v>41532</c:v>
                </c:pt>
                <c:pt idx="89">
                  <c:v>41533</c:v>
                </c:pt>
                <c:pt idx="90">
                  <c:v>41534</c:v>
                </c:pt>
                <c:pt idx="91">
                  <c:v>41535</c:v>
                </c:pt>
                <c:pt idx="92">
                  <c:v>41539</c:v>
                </c:pt>
                <c:pt idx="93">
                  <c:v>41540</c:v>
                </c:pt>
                <c:pt idx="94">
                  <c:v>41541</c:v>
                </c:pt>
                <c:pt idx="95">
                  <c:v>41542</c:v>
                </c:pt>
                <c:pt idx="96">
                  <c:v>41543</c:v>
                </c:pt>
                <c:pt idx="97">
                  <c:v>41544</c:v>
                </c:pt>
                <c:pt idx="98">
                  <c:v>41546</c:v>
                </c:pt>
                <c:pt idx="99">
                  <c:v>41547</c:v>
                </c:pt>
                <c:pt idx="100">
                  <c:v>41554</c:v>
                </c:pt>
                <c:pt idx="101">
                  <c:v>41555</c:v>
                </c:pt>
                <c:pt idx="102">
                  <c:v>41556</c:v>
                </c:pt>
                <c:pt idx="103">
                  <c:v>41557</c:v>
                </c:pt>
                <c:pt idx="104">
                  <c:v>41558</c:v>
                </c:pt>
                <c:pt idx="105">
                  <c:v>41560</c:v>
                </c:pt>
                <c:pt idx="106">
                  <c:v>41561</c:v>
                </c:pt>
                <c:pt idx="107">
                  <c:v>41562</c:v>
                </c:pt>
                <c:pt idx="108">
                  <c:v>41563</c:v>
                </c:pt>
                <c:pt idx="109">
                  <c:v>41564</c:v>
                </c:pt>
                <c:pt idx="110">
                  <c:v>41565</c:v>
                </c:pt>
                <c:pt idx="111">
                  <c:v>41567</c:v>
                </c:pt>
                <c:pt idx="112">
                  <c:v>41568</c:v>
                </c:pt>
                <c:pt idx="113">
                  <c:v>41569</c:v>
                </c:pt>
                <c:pt idx="114">
                  <c:v>41570</c:v>
                </c:pt>
                <c:pt idx="115">
                  <c:v>41571</c:v>
                </c:pt>
                <c:pt idx="116">
                  <c:v>41572</c:v>
                </c:pt>
                <c:pt idx="117">
                  <c:v>41574</c:v>
                </c:pt>
                <c:pt idx="118">
                  <c:v>41575</c:v>
                </c:pt>
                <c:pt idx="119">
                  <c:v>41576</c:v>
                </c:pt>
                <c:pt idx="120">
                  <c:v>41577</c:v>
                </c:pt>
                <c:pt idx="121">
                  <c:v>41578</c:v>
                </c:pt>
                <c:pt idx="122">
                  <c:v>41579</c:v>
                </c:pt>
                <c:pt idx="123">
                  <c:v>41581</c:v>
                </c:pt>
                <c:pt idx="124">
                  <c:v>41582</c:v>
                </c:pt>
                <c:pt idx="125">
                  <c:v>41583</c:v>
                </c:pt>
                <c:pt idx="126">
                  <c:v>41584</c:v>
                </c:pt>
                <c:pt idx="127">
                  <c:v>41585</c:v>
                </c:pt>
                <c:pt idx="128">
                  <c:v>41586</c:v>
                </c:pt>
                <c:pt idx="129">
                  <c:v>41588</c:v>
                </c:pt>
                <c:pt idx="130">
                  <c:v>41589</c:v>
                </c:pt>
                <c:pt idx="131">
                  <c:v>41590</c:v>
                </c:pt>
                <c:pt idx="132">
                  <c:v>41591</c:v>
                </c:pt>
                <c:pt idx="133">
                  <c:v>41592</c:v>
                </c:pt>
                <c:pt idx="134">
                  <c:v>41593</c:v>
                </c:pt>
                <c:pt idx="135">
                  <c:v>41595</c:v>
                </c:pt>
                <c:pt idx="136">
                  <c:v>41596</c:v>
                </c:pt>
                <c:pt idx="137">
                  <c:v>41597</c:v>
                </c:pt>
                <c:pt idx="138">
                  <c:v>41598</c:v>
                </c:pt>
                <c:pt idx="139">
                  <c:v>41599</c:v>
                </c:pt>
                <c:pt idx="140">
                  <c:v>41600</c:v>
                </c:pt>
                <c:pt idx="141">
                  <c:v>41602</c:v>
                </c:pt>
                <c:pt idx="142">
                  <c:v>41603</c:v>
                </c:pt>
                <c:pt idx="143">
                  <c:v>41604</c:v>
                </c:pt>
                <c:pt idx="144">
                  <c:v>41605</c:v>
                </c:pt>
                <c:pt idx="145">
                  <c:v>41606</c:v>
                </c:pt>
                <c:pt idx="146">
                  <c:v>41607</c:v>
                </c:pt>
                <c:pt idx="147">
                  <c:v>41609</c:v>
                </c:pt>
                <c:pt idx="148">
                  <c:v>41610</c:v>
                </c:pt>
                <c:pt idx="149">
                  <c:v>41611</c:v>
                </c:pt>
                <c:pt idx="150">
                  <c:v>41612</c:v>
                </c:pt>
                <c:pt idx="151">
                  <c:v>41613</c:v>
                </c:pt>
                <c:pt idx="152">
                  <c:v>41614</c:v>
                </c:pt>
                <c:pt idx="153">
                  <c:v>41616</c:v>
                </c:pt>
                <c:pt idx="154">
                  <c:v>41617</c:v>
                </c:pt>
                <c:pt idx="155">
                  <c:v>41618</c:v>
                </c:pt>
                <c:pt idx="156">
                  <c:v>41619</c:v>
                </c:pt>
                <c:pt idx="157">
                  <c:v>41620</c:v>
                </c:pt>
                <c:pt idx="158">
                  <c:v>41621</c:v>
                </c:pt>
                <c:pt idx="159">
                  <c:v>41623</c:v>
                </c:pt>
                <c:pt idx="160">
                  <c:v>41624</c:v>
                </c:pt>
                <c:pt idx="161">
                  <c:v>41625</c:v>
                </c:pt>
                <c:pt idx="162">
                  <c:v>41626</c:v>
                </c:pt>
                <c:pt idx="163">
                  <c:v>41627</c:v>
                </c:pt>
                <c:pt idx="164">
                  <c:v>41628</c:v>
                </c:pt>
                <c:pt idx="165">
                  <c:v>41630</c:v>
                </c:pt>
                <c:pt idx="166">
                  <c:v>41631</c:v>
                </c:pt>
                <c:pt idx="167">
                  <c:v>41632</c:v>
                </c:pt>
                <c:pt idx="168">
                  <c:v>41633</c:v>
                </c:pt>
                <c:pt idx="169">
                  <c:v>41634</c:v>
                </c:pt>
                <c:pt idx="170">
                  <c:v>41635</c:v>
                </c:pt>
                <c:pt idx="171">
                  <c:v>41637</c:v>
                </c:pt>
                <c:pt idx="172">
                  <c:v>41638</c:v>
                </c:pt>
                <c:pt idx="173">
                  <c:v>41639</c:v>
                </c:pt>
                <c:pt idx="174">
                  <c:v>41640</c:v>
                </c:pt>
                <c:pt idx="175">
                  <c:v>41641</c:v>
                </c:pt>
                <c:pt idx="176">
                  <c:v>41642</c:v>
                </c:pt>
                <c:pt idx="177">
                  <c:v>41644</c:v>
                </c:pt>
                <c:pt idx="178">
                  <c:v>41645</c:v>
                </c:pt>
                <c:pt idx="179">
                  <c:v>41646</c:v>
                </c:pt>
                <c:pt idx="180">
                  <c:v>41647</c:v>
                </c:pt>
                <c:pt idx="181">
                  <c:v>41648</c:v>
                </c:pt>
                <c:pt idx="182">
                  <c:v>41649</c:v>
                </c:pt>
                <c:pt idx="183">
                  <c:v>41651</c:v>
                </c:pt>
                <c:pt idx="184">
                  <c:v>41652</c:v>
                </c:pt>
                <c:pt idx="185">
                  <c:v>41653</c:v>
                </c:pt>
                <c:pt idx="186">
                  <c:v>41654</c:v>
                </c:pt>
                <c:pt idx="187">
                  <c:v>41655</c:v>
                </c:pt>
                <c:pt idx="188">
                  <c:v>41656</c:v>
                </c:pt>
                <c:pt idx="189">
                  <c:v>41658</c:v>
                </c:pt>
                <c:pt idx="190">
                  <c:v>41659</c:v>
                </c:pt>
                <c:pt idx="191">
                  <c:v>41660</c:v>
                </c:pt>
                <c:pt idx="192">
                  <c:v>41661</c:v>
                </c:pt>
                <c:pt idx="193">
                  <c:v>41662</c:v>
                </c:pt>
                <c:pt idx="194">
                  <c:v>41663</c:v>
                </c:pt>
                <c:pt idx="195">
                  <c:v>41665</c:v>
                </c:pt>
                <c:pt idx="196">
                  <c:v>41666</c:v>
                </c:pt>
                <c:pt idx="197">
                  <c:v>41667</c:v>
                </c:pt>
                <c:pt idx="198">
                  <c:v>41668</c:v>
                </c:pt>
                <c:pt idx="199">
                  <c:v>41669</c:v>
                </c:pt>
                <c:pt idx="200">
                  <c:v>41676</c:v>
                </c:pt>
                <c:pt idx="201">
                  <c:v>41677</c:v>
                </c:pt>
                <c:pt idx="202">
                  <c:v>41679</c:v>
                </c:pt>
                <c:pt idx="203">
                  <c:v>41680</c:v>
                </c:pt>
                <c:pt idx="204">
                  <c:v>41681</c:v>
                </c:pt>
                <c:pt idx="205">
                  <c:v>41682</c:v>
                </c:pt>
                <c:pt idx="206">
                  <c:v>41683</c:v>
                </c:pt>
                <c:pt idx="207">
                  <c:v>41684</c:v>
                </c:pt>
                <c:pt idx="208">
                  <c:v>41686</c:v>
                </c:pt>
                <c:pt idx="209">
                  <c:v>41687</c:v>
                </c:pt>
                <c:pt idx="210">
                  <c:v>41688</c:v>
                </c:pt>
                <c:pt idx="211">
                  <c:v>41689</c:v>
                </c:pt>
                <c:pt idx="212">
                  <c:v>41690</c:v>
                </c:pt>
                <c:pt idx="213">
                  <c:v>41691</c:v>
                </c:pt>
                <c:pt idx="214">
                  <c:v>41693</c:v>
                </c:pt>
                <c:pt idx="215">
                  <c:v>41694</c:v>
                </c:pt>
                <c:pt idx="216">
                  <c:v>41695</c:v>
                </c:pt>
                <c:pt idx="217">
                  <c:v>41696</c:v>
                </c:pt>
                <c:pt idx="218">
                  <c:v>41697</c:v>
                </c:pt>
                <c:pt idx="219">
                  <c:v>41698</c:v>
                </c:pt>
                <c:pt idx="220">
                  <c:v>41700</c:v>
                </c:pt>
                <c:pt idx="221">
                  <c:v>41701</c:v>
                </c:pt>
                <c:pt idx="222">
                  <c:v>41702</c:v>
                </c:pt>
                <c:pt idx="223">
                  <c:v>41703</c:v>
                </c:pt>
                <c:pt idx="224">
                  <c:v>41704</c:v>
                </c:pt>
                <c:pt idx="225">
                  <c:v>41705</c:v>
                </c:pt>
                <c:pt idx="226">
                  <c:v>41707</c:v>
                </c:pt>
                <c:pt idx="227">
                  <c:v>41708</c:v>
                </c:pt>
                <c:pt idx="228">
                  <c:v>41709</c:v>
                </c:pt>
                <c:pt idx="229">
                  <c:v>41710</c:v>
                </c:pt>
                <c:pt idx="230">
                  <c:v>41711</c:v>
                </c:pt>
                <c:pt idx="231">
                  <c:v>41712</c:v>
                </c:pt>
                <c:pt idx="232">
                  <c:v>41714</c:v>
                </c:pt>
                <c:pt idx="233">
                  <c:v>41715</c:v>
                </c:pt>
                <c:pt idx="234">
                  <c:v>41716</c:v>
                </c:pt>
                <c:pt idx="235">
                  <c:v>41717</c:v>
                </c:pt>
                <c:pt idx="236">
                  <c:v>41718</c:v>
                </c:pt>
                <c:pt idx="237">
                  <c:v>41719</c:v>
                </c:pt>
                <c:pt idx="238">
                  <c:v>41721</c:v>
                </c:pt>
                <c:pt idx="239">
                  <c:v>41722</c:v>
                </c:pt>
                <c:pt idx="240">
                  <c:v>41723</c:v>
                </c:pt>
                <c:pt idx="241">
                  <c:v>41724</c:v>
                </c:pt>
                <c:pt idx="242">
                  <c:v>41725</c:v>
                </c:pt>
                <c:pt idx="243">
                  <c:v>41726</c:v>
                </c:pt>
                <c:pt idx="244">
                  <c:v>41728</c:v>
                </c:pt>
                <c:pt idx="245">
                  <c:v>41729</c:v>
                </c:pt>
                <c:pt idx="246">
                  <c:v>41730</c:v>
                </c:pt>
                <c:pt idx="247">
                  <c:v>41731</c:v>
                </c:pt>
                <c:pt idx="248">
                  <c:v>41732</c:v>
                </c:pt>
                <c:pt idx="249">
                  <c:v>41733</c:v>
                </c:pt>
                <c:pt idx="250">
                  <c:v>41736</c:v>
                </c:pt>
                <c:pt idx="251">
                  <c:v>41737</c:v>
                </c:pt>
                <c:pt idx="252">
                  <c:v>41738</c:v>
                </c:pt>
                <c:pt idx="253">
                  <c:v>41739</c:v>
                </c:pt>
                <c:pt idx="254">
                  <c:v>41740</c:v>
                </c:pt>
                <c:pt idx="255">
                  <c:v>41742</c:v>
                </c:pt>
                <c:pt idx="256">
                  <c:v>41743</c:v>
                </c:pt>
                <c:pt idx="257">
                  <c:v>41744</c:v>
                </c:pt>
                <c:pt idx="258">
                  <c:v>41745</c:v>
                </c:pt>
                <c:pt idx="259">
                  <c:v>41746</c:v>
                </c:pt>
                <c:pt idx="260">
                  <c:v>41747</c:v>
                </c:pt>
                <c:pt idx="261">
                  <c:v>41749</c:v>
                </c:pt>
                <c:pt idx="262">
                  <c:v>41750</c:v>
                </c:pt>
                <c:pt idx="263">
                  <c:v>41751</c:v>
                </c:pt>
                <c:pt idx="264">
                  <c:v>41752</c:v>
                </c:pt>
                <c:pt idx="265">
                  <c:v>41753</c:v>
                </c:pt>
                <c:pt idx="266">
                  <c:v>41754</c:v>
                </c:pt>
                <c:pt idx="267">
                  <c:v>41756</c:v>
                </c:pt>
                <c:pt idx="268">
                  <c:v>41757</c:v>
                </c:pt>
                <c:pt idx="269">
                  <c:v>41758</c:v>
                </c:pt>
                <c:pt idx="270">
                  <c:v>41759</c:v>
                </c:pt>
                <c:pt idx="271">
                  <c:v>41763</c:v>
                </c:pt>
                <c:pt idx="272">
                  <c:v>41764</c:v>
                </c:pt>
                <c:pt idx="273">
                  <c:v>41765</c:v>
                </c:pt>
                <c:pt idx="274">
                  <c:v>41766</c:v>
                </c:pt>
                <c:pt idx="275">
                  <c:v>41767</c:v>
                </c:pt>
                <c:pt idx="276">
                  <c:v>41768</c:v>
                </c:pt>
                <c:pt idx="277">
                  <c:v>41770</c:v>
                </c:pt>
                <c:pt idx="278">
                  <c:v>41771</c:v>
                </c:pt>
                <c:pt idx="279">
                  <c:v>41772</c:v>
                </c:pt>
                <c:pt idx="280">
                  <c:v>41773</c:v>
                </c:pt>
                <c:pt idx="281">
                  <c:v>41774</c:v>
                </c:pt>
                <c:pt idx="282">
                  <c:v>41775</c:v>
                </c:pt>
                <c:pt idx="283">
                  <c:v>41777</c:v>
                </c:pt>
                <c:pt idx="284">
                  <c:v>41778</c:v>
                </c:pt>
                <c:pt idx="285">
                  <c:v>41779</c:v>
                </c:pt>
                <c:pt idx="286">
                  <c:v>41780</c:v>
                </c:pt>
                <c:pt idx="287">
                  <c:v>41781</c:v>
                </c:pt>
                <c:pt idx="288">
                  <c:v>41782</c:v>
                </c:pt>
                <c:pt idx="289">
                  <c:v>41784</c:v>
                </c:pt>
                <c:pt idx="290">
                  <c:v>41785</c:v>
                </c:pt>
                <c:pt idx="291">
                  <c:v>41786</c:v>
                </c:pt>
                <c:pt idx="292">
                  <c:v>41787</c:v>
                </c:pt>
                <c:pt idx="293">
                  <c:v>41788</c:v>
                </c:pt>
                <c:pt idx="294">
                  <c:v>41789</c:v>
                </c:pt>
                <c:pt idx="295">
                  <c:v>41792</c:v>
                </c:pt>
                <c:pt idx="296">
                  <c:v>41793</c:v>
                </c:pt>
                <c:pt idx="297">
                  <c:v>41794</c:v>
                </c:pt>
                <c:pt idx="298">
                  <c:v>41795</c:v>
                </c:pt>
                <c:pt idx="299">
                  <c:v>41796</c:v>
                </c:pt>
                <c:pt idx="300">
                  <c:v>41798</c:v>
                </c:pt>
                <c:pt idx="301">
                  <c:v>41799</c:v>
                </c:pt>
                <c:pt idx="302">
                  <c:v>41800</c:v>
                </c:pt>
                <c:pt idx="303">
                  <c:v>41801</c:v>
                </c:pt>
                <c:pt idx="304">
                  <c:v>41802</c:v>
                </c:pt>
                <c:pt idx="305">
                  <c:v>41803</c:v>
                </c:pt>
                <c:pt idx="306">
                  <c:v>41805</c:v>
                </c:pt>
                <c:pt idx="307">
                  <c:v>41806</c:v>
                </c:pt>
                <c:pt idx="308">
                  <c:v>41807</c:v>
                </c:pt>
                <c:pt idx="309">
                  <c:v>41808</c:v>
                </c:pt>
                <c:pt idx="310">
                  <c:v>41809</c:v>
                </c:pt>
                <c:pt idx="311">
                  <c:v>41810</c:v>
                </c:pt>
                <c:pt idx="312">
                  <c:v>41812</c:v>
                </c:pt>
                <c:pt idx="313">
                  <c:v>41813</c:v>
                </c:pt>
                <c:pt idx="314">
                  <c:v>41814</c:v>
                </c:pt>
                <c:pt idx="315">
                  <c:v>41815</c:v>
                </c:pt>
                <c:pt idx="316">
                  <c:v>41816</c:v>
                </c:pt>
                <c:pt idx="317">
                  <c:v>41817</c:v>
                </c:pt>
                <c:pt idx="318">
                  <c:v>41819</c:v>
                </c:pt>
                <c:pt idx="319">
                  <c:v>41820</c:v>
                </c:pt>
                <c:pt idx="320">
                  <c:v>41821</c:v>
                </c:pt>
                <c:pt idx="321">
                  <c:v>41822</c:v>
                </c:pt>
                <c:pt idx="322">
                  <c:v>41823</c:v>
                </c:pt>
                <c:pt idx="323">
                  <c:v>41824</c:v>
                </c:pt>
                <c:pt idx="324">
                  <c:v>41826</c:v>
                </c:pt>
                <c:pt idx="325">
                  <c:v>41827</c:v>
                </c:pt>
                <c:pt idx="326">
                  <c:v>41828</c:v>
                </c:pt>
                <c:pt idx="327">
                  <c:v>41829</c:v>
                </c:pt>
                <c:pt idx="328">
                  <c:v>41830</c:v>
                </c:pt>
                <c:pt idx="329">
                  <c:v>41831</c:v>
                </c:pt>
                <c:pt idx="330">
                  <c:v>41833</c:v>
                </c:pt>
                <c:pt idx="331">
                  <c:v>41834</c:v>
                </c:pt>
                <c:pt idx="332">
                  <c:v>41835</c:v>
                </c:pt>
                <c:pt idx="333">
                  <c:v>41836</c:v>
                </c:pt>
                <c:pt idx="334">
                  <c:v>41837</c:v>
                </c:pt>
                <c:pt idx="335">
                  <c:v>41838</c:v>
                </c:pt>
                <c:pt idx="336">
                  <c:v>41840</c:v>
                </c:pt>
                <c:pt idx="337">
                  <c:v>41841</c:v>
                </c:pt>
                <c:pt idx="338">
                  <c:v>41842</c:v>
                </c:pt>
                <c:pt idx="339">
                  <c:v>41843</c:v>
                </c:pt>
                <c:pt idx="340">
                  <c:v>41844</c:v>
                </c:pt>
                <c:pt idx="341">
                  <c:v>41845</c:v>
                </c:pt>
                <c:pt idx="342">
                  <c:v>41847</c:v>
                </c:pt>
                <c:pt idx="343">
                  <c:v>41848</c:v>
                </c:pt>
                <c:pt idx="344">
                  <c:v>41849</c:v>
                </c:pt>
                <c:pt idx="345">
                  <c:v>41850</c:v>
                </c:pt>
                <c:pt idx="346">
                  <c:v>41851</c:v>
                </c:pt>
                <c:pt idx="347">
                  <c:v>41852</c:v>
                </c:pt>
                <c:pt idx="348">
                  <c:v>41854</c:v>
                </c:pt>
                <c:pt idx="349">
                  <c:v>41855</c:v>
                </c:pt>
                <c:pt idx="350">
                  <c:v>41856</c:v>
                </c:pt>
                <c:pt idx="351">
                  <c:v>41857</c:v>
                </c:pt>
                <c:pt idx="352">
                  <c:v>41858</c:v>
                </c:pt>
                <c:pt idx="353">
                  <c:v>41859</c:v>
                </c:pt>
                <c:pt idx="354">
                  <c:v>41861</c:v>
                </c:pt>
                <c:pt idx="355">
                  <c:v>41862</c:v>
                </c:pt>
                <c:pt idx="356">
                  <c:v>41863</c:v>
                </c:pt>
                <c:pt idx="357">
                  <c:v>41864</c:v>
                </c:pt>
                <c:pt idx="358">
                  <c:v>41865</c:v>
                </c:pt>
                <c:pt idx="359">
                  <c:v>41866</c:v>
                </c:pt>
                <c:pt idx="360">
                  <c:v>41868</c:v>
                </c:pt>
                <c:pt idx="361">
                  <c:v>41869</c:v>
                </c:pt>
                <c:pt idx="362">
                  <c:v>41870</c:v>
                </c:pt>
                <c:pt idx="363">
                  <c:v>41871</c:v>
                </c:pt>
                <c:pt idx="364">
                  <c:v>41872</c:v>
                </c:pt>
                <c:pt idx="365">
                  <c:v>41873</c:v>
                </c:pt>
                <c:pt idx="366">
                  <c:v>41875</c:v>
                </c:pt>
                <c:pt idx="367">
                  <c:v>41876</c:v>
                </c:pt>
                <c:pt idx="368">
                  <c:v>41877</c:v>
                </c:pt>
                <c:pt idx="369">
                  <c:v>41878</c:v>
                </c:pt>
                <c:pt idx="370">
                  <c:v>41879</c:v>
                </c:pt>
                <c:pt idx="371">
                  <c:v>41880</c:v>
                </c:pt>
                <c:pt idx="372">
                  <c:v>41882</c:v>
                </c:pt>
                <c:pt idx="373">
                  <c:v>41883</c:v>
                </c:pt>
                <c:pt idx="374">
                  <c:v>41884</c:v>
                </c:pt>
                <c:pt idx="375">
                  <c:v>41885</c:v>
                </c:pt>
                <c:pt idx="376">
                  <c:v>41886</c:v>
                </c:pt>
                <c:pt idx="377">
                  <c:v>41887</c:v>
                </c:pt>
                <c:pt idx="378">
                  <c:v>41890</c:v>
                </c:pt>
                <c:pt idx="379">
                  <c:v>41891</c:v>
                </c:pt>
                <c:pt idx="380">
                  <c:v>41892</c:v>
                </c:pt>
                <c:pt idx="381">
                  <c:v>41893</c:v>
                </c:pt>
                <c:pt idx="382">
                  <c:v>41894</c:v>
                </c:pt>
                <c:pt idx="383">
                  <c:v>41896</c:v>
                </c:pt>
                <c:pt idx="384">
                  <c:v>41897</c:v>
                </c:pt>
                <c:pt idx="385">
                  <c:v>41898</c:v>
                </c:pt>
                <c:pt idx="386">
                  <c:v>41899</c:v>
                </c:pt>
                <c:pt idx="387">
                  <c:v>41900</c:v>
                </c:pt>
                <c:pt idx="388">
                  <c:v>41901</c:v>
                </c:pt>
                <c:pt idx="389">
                  <c:v>41903</c:v>
                </c:pt>
                <c:pt idx="390">
                  <c:v>41904</c:v>
                </c:pt>
                <c:pt idx="391">
                  <c:v>41905</c:v>
                </c:pt>
                <c:pt idx="392">
                  <c:v>41906</c:v>
                </c:pt>
                <c:pt idx="393">
                  <c:v>41907</c:v>
                </c:pt>
                <c:pt idx="394">
                  <c:v>41908</c:v>
                </c:pt>
                <c:pt idx="395">
                  <c:v>41910</c:v>
                </c:pt>
                <c:pt idx="396">
                  <c:v>41911</c:v>
                </c:pt>
                <c:pt idx="397">
                  <c:v>41912</c:v>
                </c:pt>
                <c:pt idx="398">
                  <c:v>41919</c:v>
                </c:pt>
                <c:pt idx="399">
                  <c:v>41920</c:v>
                </c:pt>
                <c:pt idx="400">
                  <c:v>41921</c:v>
                </c:pt>
                <c:pt idx="401">
                  <c:v>41922</c:v>
                </c:pt>
                <c:pt idx="402">
                  <c:v>41924</c:v>
                </c:pt>
                <c:pt idx="403">
                  <c:v>41925</c:v>
                </c:pt>
                <c:pt idx="404">
                  <c:v>41926</c:v>
                </c:pt>
                <c:pt idx="405">
                  <c:v>41927</c:v>
                </c:pt>
                <c:pt idx="406">
                  <c:v>41928</c:v>
                </c:pt>
                <c:pt idx="407">
                  <c:v>41929</c:v>
                </c:pt>
                <c:pt idx="408">
                  <c:v>41931</c:v>
                </c:pt>
                <c:pt idx="409">
                  <c:v>41932</c:v>
                </c:pt>
                <c:pt idx="410">
                  <c:v>41933</c:v>
                </c:pt>
                <c:pt idx="411">
                  <c:v>41934</c:v>
                </c:pt>
                <c:pt idx="412">
                  <c:v>41935</c:v>
                </c:pt>
                <c:pt idx="413">
                  <c:v>41936</c:v>
                </c:pt>
                <c:pt idx="414">
                  <c:v>41938</c:v>
                </c:pt>
                <c:pt idx="415">
                  <c:v>41939</c:v>
                </c:pt>
                <c:pt idx="416">
                  <c:v>41940</c:v>
                </c:pt>
                <c:pt idx="417">
                  <c:v>41941</c:v>
                </c:pt>
                <c:pt idx="418">
                  <c:v>41942</c:v>
                </c:pt>
                <c:pt idx="419">
                  <c:v>41943</c:v>
                </c:pt>
                <c:pt idx="420">
                  <c:v>41945</c:v>
                </c:pt>
                <c:pt idx="421">
                  <c:v>41946</c:v>
                </c:pt>
                <c:pt idx="422">
                  <c:v>41947</c:v>
                </c:pt>
                <c:pt idx="423">
                  <c:v>41948</c:v>
                </c:pt>
                <c:pt idx="424">
                  <c:v>41949</c:v>
                </c:pt>
                <c:pt idx="425">
                  <c:v>41950</c:v>
                </c:pt>
                <c:pt idx="426">
                  <c:v>41952</c:v>
                </c:pt>
                <c:pt idx="427">
                  <c:v>41953</c:v>
                </c:pt>
                <c:pt idx="428">
                  <c:v>41954</c:v>
                </c:pt>
                <c:pt idx="429">
                  <c:v>41955</c:v>
                </c:pt>
                <c:pt idx="430">
                  <c:v>41956</c:v>
                </c:pt>
                <c:pt idx="431">
                  <c:v>41957</c:v>
                </c:pt>
                <c:pt idx="432">
                  <c:v>41959</c:v>
                </c:pt>
                <c:pt idx="433">
                  <c:v>41960</c:v>
                </c:pt>
                <c:pt idx="434">
                  <c:v>41961</c:v>
                </c:pt>
                <c:pt idx="435">
                  <c:v>41962</c:v>
                </c:pt>
                <c:pt idx="436">
                  <c:v>41963</c:v>
                </c:pt>
                <c:pt idx="437">
                  <c:v>41964</c:v>
                </c:pt>
                <c:pt idx="438">
                  <c:v>41966</c:v>
                </c:pt>
                <c:pt idx="439">
                  <c:v>41967</c:v>
                </c:pt>
                <c:pt idx="440">
                  <c:v>41968</c:v>
                </c:pt>
                <c:pt idx="441">
                  <c:v>41969</c:v>
                </c:pt>
                <c:pt idx="442">
                  <c:v>41970</c:v>
                </c:pt>
                <c:pt idx="443">
                  <c:v>41971</c:v>
                </c:pt>
                <c:pt idx="444">
                  <c:v>41973</c:v>
                </c:pt>
                <c:pt idx="445">
                  <c:v>41974</c:v>
                </c:pt>
                <c:pt idx="446">
                  <c:v>41975</c:v>
                </c:pt>
                <c:pt idx="447">
                  <c:v>41976</c:v>
                </c:pt>
                <c:pt idx="448">
                  <c:v>41977</c:v>
                </c:pt>
                <c:pt idx="449">
                  <c:v>41978</c:v>
                </c:pt>
                <c:pt idx="450">
                  <c:v>41980</c:v>
                </c:pt>
                <c:pt idx="451">
                  <c:v>41981</c:v>
                </c:pt>
                <c:pt idx="452">
                  <c:v>41982</c:v>
                </c:pt>
                <c:pt idx="453">
                  <c:v>41983</c:v>
                </c:pt>
                <c:pt idx="454">
                  <c:v>41984</c:v>
                </c:pt>
                <c:pt idx="455">
                  <c:v>41985</c:v>
                </c:pt>
                <c:pt idx="456">
                  <c:v>41987</c:v>
                </c:pt>
                <c:pt idx="457">
                  <c:v>41988</c:v>
                </c:pt>
                <c:pt idx="458">
                  <c:v>41989</c:v>
                </c:pt>
                <c:pt idx="459">
                  <c:v>41990</c:v>
                </c:pt>
                <c:pt idx="460">
                  <c:v>41991</c:v>
                </c:pt>
                <c:pt idx="461">
                  <c:v>41992</c:v>
                </c:pt>
                <c:pt idx="462">
                  <c:v>41994</c:v>
                </c:pt>
                <c:pt idx="463">
                  <c:v>41995</c:v>
                </c:pt>
                <c:pt idx="464">
                  <c:v>41996</c:v>
                </c:pt>
                <c:pt idx="465">
                  <c:v>41997</c:v>
                </c:pt>
                <c:pt idx="466">
                  <c:v>41998</c:v>
                </c:pt>
                <c:pt idx="467">
                  <c:v>41999</c:v>
                </c:pt>
                <c:pt idx="468">
                  <c:v>42001</c:v>
                </c:pt>
                <c:pt idx="469">
                  <c:v>42002</c:v>
                </c:pt>
                <c:pt idx="470">
                  <c:v>42003</c:v>
                </c:pt>
                <c:pt idx="471">
                  <c:v>42004</c:v>
                </c:pt>
                <c:pt idx="472">
                  <c:v>42008</c:v>
                </c:pt>
                <c:pt idx="473">
                  <c:v>42009</c:v>
                </c:pt>
                <c:pt idx="474">
                  <c:v>42010</c:v>
                </c:pt>
                <c:pt idx="475">
                  <c:v>42011</c:v>
                </c:pt>
                <c:pt idx="476">
                  <c:v>42012</c:v>
                </c:pt>
                <c:pt idx="477">
                  <c:v>42013</c:v>
                </c:pt>
                <c:pt idx="478">
                  <c:v>42015</c:v>
                </c:pt>
                <c:pt idx="479">
                  <c:v>42016</c:v>
                </c:pt>
                <c:pt idx="480">
                  <c:v>42017</c:v>
                </c:pt>
                <c:pt idx="481">
                  <c:v>42018</c:v>
                </c:pt>
                <c:pt idx="482">
                  <c:v>42019</c:v>
                </c:pt>
                <c:pt idx="483">
                  <c:v>42020</c:v>
                </c:pt>
                <c:pt idx="484">
                  <c:v>42022</c:v>
                </c:pt>
                <c:pt idx="485">
                  <c:v>42023</c:v>
                </c:pt>
                <c:pt idx="486">
                  <c:v>42024</c:v>
                </c:pt>
                <c:pt idx="487">
                  <c:v>42025</c:v>
                </c:pt>
                <c:pt idx="488">
                  <c:v>42026</c:v>
                </c:pt>
                <c:pt idx="489">
                  <c:v>42027</c:v>
                </c:pt>
                <c:pt idx="490">
                  <c:v>42029</c:v>
                </c:pt>
                <c:pt idx="491">
                  <c:v>42030</c:v>
                </c:pt>
                <c:pt idx="492">
                  <c:v>42031</c:v>
                </c:pt>
                <c:pt idx="493">
                  <c:v>42032</c:v>
                </c:pt>
                <c:pt idx="494">
                  <c:v>42033</c:v>
                </c:pt>
                <c:pt idx="495">
                  <c:v>42034</c:v>
                </c:pt>
                <c:pt idx="496">
                  <c:v>42036</c:v>
                </c:pt>
                <c:pt idx="497">
                  <c:v>42037</c:v>
                </c:pt>
                <c:pt idx="498">
                  <c:v>42038</c:v>
                </c:pt>
                <c:pt idx="499">
                  <c:v>42039</c:v>
                </c:pt>
                <c:pt idx="500">
                  <c:v>42040</c:v>
                </c:pt>
                <c:pt idx="501">
                  <c:v>42041</c:v>
                </c:pt>
                <c:pt idx="502">
                  <c:v>42043</c:v>
                </c:pt>
                <c:pt idx="503">
                  <c:v>42044</c:v>
                </c:pt>
                <c:pt idx="504">
                  <c:v>42045</c:v>
                </c:pt>
                <c:pt idx="505">
                  <c:v>42046</c:v>
                </c:pt>
                <c:pt idx="506">
                  <c:v>42047</c:v>
                </c:pt>
                <c:pt idx="507">
                  <c:v>42048</c:v>
                </c:pt>
                <c:pt idx="508">
                  <c:v>42050</c:v>
                </c:pt>
                <c:pt idx="509">
                  <c:v>42051</c:v>
                </c:pt>
                <c:pt idx="510">
                  <c:v>42052</c:v>
                </c:pt>
                <c:pt idx="511">
                  <c:v>42059</c:v>
                </c:pt>
                <c:pt idx="512">
                  <c:v>42060</c:v>
                </c:pt>
                <c:pt idx="513">
                  <c:v>42061</c:v>
                </c:pt>
                <c:pt idx="514">
                  <c:v>42062</c:v>
                </c:pt>
                <c:pt idx="515">
                  <c:v>42064</c:v>
                </c:pt>
                <c:pt idx="516">
                  <c:v>42065</c:v>
                </c:pt>
                <c:pt idx="517">
                  <c:v>42066</c:v>
                </c:pt>
                <c:pt idx="518">
                  <c:v>42067</c:v>
                </c:pt>
                <c:pt idx="519">
                  <c:v>42068</c:v>
                </c:pt>
                <c:pt idx="520">
                  <c:v>42069</c:v>
                </c:pt>
                <c:pt idx="521">
                  <c:v>42071</c:v>
                </c:pt>
                <c:pt idx="522">
                  <c:v>42072</c:v>
                </c:pt>
                <c:pt idx="523">
                  <c:v>42073</c:v>
                </c:pt>
                <c:pt idx="524">
                  <c:v>42074</c:v>
                </c:pt>
                <c:pt idx="525">
                  <c:v>42075</c:v>
                </c:pt>
                <c:pt idx="526">
                  <c:v>42076</c:v>
                </c:pt>
                <c:pt idx="527">
                  <c:v>42078</c:v>
                </c:pt>
                <c:pt idx="528">
                  <c:v>42079</c:v>
                </c:pt>
                <c:pt idx="529">
                  <c:v>42080</c:v>
                </c:pt>
                <c:pt idx="530">
                  <c:v>42081</c:v>
                </c:pt>
                <c:pt idx="531">
                  <c:v>42082</c:v>
                </c:pt>
                <c:pt idx="532">
                  <c:v>42083</c:v>
                </c:pt>
                <c:pt idx="533">
                  <c:v>42085</c:v>
                </c:pt>
                <c:pt idx="534">
                  <c:v>42086</c:v>
                </c:pt>
                <c:pt idx="535">
                  <c:v>42087</c:v>
                </c:pt>
                <c:pt idx="536">
                  <c:v>42088</c:v>
                </c:pt>
                <c:pt idx="537">
                  <c:v>42089</c:v>
                </c:pt>
                <c:pt idx="538">
                  <c:v>42090</c:v>
                </c:pt>
                <c:pt idx="539">
                  <c:v>42092</c:v>
                </c:pt>
                <c:pt idx="540">
                  <c:v>42093</c:v>
                </c:pt>
                <c:pt idx="541">
                  <c:v>42094</c:v>
                </c:pt>
                <c:pt idx="542">
                  <c:v>42095</c:v>
                </c:pt>
                <c:pt idx="543">
                  <c:v>42096</c:v>
                </c:pt>
                <c:pt idx="544">
                  <c:v>42097</c:v>
                </c:pt>
                <c:pt idx="545">
                  <c:v>42100</c:v>
                </c:pt>
                <c:pt idx="546">
                  <c:v>42101</c:v>
                </c:pt>
                <c:pt idx="547">
                  <c:v>42102</c:v>
                </c:pt>
                <c:pt idx="548">
                  <c:v>42103</c:v>
                </c:pt>
                <c:pt idx="549">
                  <c:v>42104</c:v>
                </c:pt>
                <c:pt idx="550">
                  <c:v>42106</c:v>
                </c:pt>
                <c:pt idx="551">
                  <c:v>42107</c:v>
                </c:pt>
                <c:pt idx="552">
                  <c:v>42108</c:v>
                </c:pt>
                <c:pt idx="553">
                  <c:v>42109</c:v>
                </c:pt>
                <c:pt idx="554">
                  <c:v>42110</c:v>
                </c:pt>
                <c:pt idx="555">
                  <c:v>42111</c:v>
                </c:pt>
                <c:pt idx="556">
                  <c:v>42113</c:v>
                </c:pt>
                <c:pt idx="557">
                  <c:v>42114</c:v>
                </c:pt>
                <c:pt idx="558">
                  <c:v>42115</c:v>
                </c:pt>
                <c:pt idx="559">
                  <c:v>42116</c:v>
                </c:pt>
                <c:pt idx="560">
                  <c:v>42117</c:v>
                </c:pt>
                <c:pt idx="561">
                  <c:v>42118</c:v>
                </c:pt>
                <c:pt idx="562">
                  <c:v>42120</c:v>
                </c:pt>
                <c:pt idx="563">
                  <c:v>42121</c:v>
                </c:pt>
                <c:pt idx="564">
                  <c:v>42122</c:v>
                </c:pt>
                <c:pt idx="565">
                  <c:v>42123</c:v>
                </c:pt>
                <c:pt idx="566">
                  <c:v>42124</c:v>
                </c:pt>
                <c:pt idx="567">
                  <c:v>42127</c:v>
                </c:pt>
                <c:pt idx="568">
                  <c:v>42128</c:v>
                </c:pt>
                <c:pt idx="569">
                  <c:v>42129</c:v>
                </c:pt>
                <c:pt idx="570">
                  <c:v>42130</c:v>
                </c:pt>
                <c:pt idx="571">
                  <c:v>42131</c:v>
                </c:pt>
                <c:pt idx="572">
                  <c:v>42132</c:v>
                </c:pt>
                <c:pt idx="573">
                  <c:v>42134</c:v>
                </c:pt>
                <c:pt idx="574">
                  <c:v>42135</c:v>
                </c:pt>
                <c:pt idx="575">
                  <c:v>42136</c:v>
                </c:pt>
                <c:pt idx="576">
                  <c:v>42137</c:v>
                </c:pt>
                <c:pt idx="577">
                  <c:v>42138</c:v>
                </c:pt>
                <c:pt idx="578">
                  <c:v>42139</c:v>
                </c:pt>
                <c:pt idx="579">
                  <c:v>42141</c:v>
                </c:pt>
                <c:pt idx="580">
                  <c:v>42142</c:v>
                </c:pt>
                <c:pt idx="581">
                  <c:v>42143</c:v>
                </c:pt>
                <c:pt idx="582">
                  <c:v>42144</c:v>
                </c:pt>
                <c:pt idx="583">
                  <c:v>42145</c:v>
                </c:pt>
                <c:pt idx="584">
                  <c:v>42146</c:v>
                </c:pt>
                <c:pt idx="585">
                  <c:v>42148</c:v>
                </c:pt>
                <c:pt idx="586">
                  <c:v>42149</c:v>
                </c:pt>
                <c:pt idx="587">
                  <c:v>42150</c:v>
                </c:pt>
                <c:pt idx="588">
                  <c:v>42151</c:v>
                </c:pt>
                <c:pt idx="589">
                  <c:v>42152</c:v>
                </c:pt>
                <c:pt idx="590">
                  <c:v>42153</c:v>
                </c:pt>
                <c:pt idx="591">
                  <c:v>42155</c:v>
                </c:pt>
                <c:pt idx="592">
                  <c:v>42156</c:v>
                </c:pt>
                <c:pt idx="593">
                  <c:v>42157</c:v>
                </c:pt>
                <c:pt idx="594">
                  <c:v>42158</c:v>
                </c:pt>
                <c:pt idx="595">
                  <c:v>42159</c:v>
                </c:pt>
                <c:pt idx="596">
                  <c:v>42160</c:v>
                </c:pt>
                <c:pt idx="597">
                  <c:v>42162</c:v>
                </c:pt>
                <c:pt idx="598">
                  <c:v>42163</c:v>
                </c:pt>
                <c:pt idx="599">
                  <c:v>42164</c:v>
                </c:pt>
                <c:pt idx="600">
                  <c:v>42165</c:v>
                </c:pt>
                <c:pt idx="601">
                  <c:v>42166</c:v>
                </c:pt>
                <c:pt idx="602">
                  <c:v>42167</c:v>
                </c:pt>
                <c:pt idx="603">
                  <c:v>42169</c:v>
                </c:pt>
                <c:pt idx="604">
                  <c:v>42170</c:v>
                </c:pt>
                <c:pt idx="605">
                  <c:v>42171</c:v>
                </c:pt>
                <c:pt idx="606">
                  <c:v>42172</c:v>
                </c:pt>
                <c:pt idx="607">
                  <c:v>42173</c:v>
                </c:pt>
                <c:pt idx="608">
                  <c:v>42174</c:v>
                </c:pt>
                <c:pt idx="609">
                  <c:v>42177</c:v>
                </c:pt>
                <c:pt idx="610">
                  <c:v>42178</c:v>
                </c:pt>
                <c:pt idx="611">
                  <c:v>42179</c:v>
                </c:pt>
                <c:pt idx="612">
                  <c:v>42180</c:v>
                </c:pt>
                <c:pt idx="613">
                  <c:v>42181</c:v>
                </c:pt>
                <c:pt idx="614">
                  <c:v>42183</c:v>
                </c:pt>
                <c:pt idx="615">
                  <c:v>42184</c:v>
                </c:pt>
                <c:pt idx="616">
                  <c:v>42185</c:v>
                </c:pt>
                <c:pt idx="617">
                  <c:v>42186</c:v>
                </c:pt>
                <c:pt idx="618">
                  <c:v>42187</c:v>
                </c:pt>
                <c:pt idx="619">
                  <c:v>42188</c:v>
                </c:pt>
                <c:pt idx="620">
                  <c:v>42190</c:v>
                </c:pt>
                <c:pt idx="621">
                  <c:v>42191</c:v>
                </c:pt>
                <c:pt idx="622">
                  <c:v>42192</c:v>
                </c:pt>
                <c:pt idx="623">
                  <c:v>42193</c:v>
                </c:pt>
                <c:pt idx="624">
                  <c:v>42194</c:v>
                </c:pt>
                <c:pt idx="625">
                  <c:v>42195</c:v>
                </c:pt>
                <c:pt idx="626">
                  <c:v>42197</c:v>
                </c:pt>
                <c:pt idx="627">
                  <c:v>42198</c:v>
                </c:pt>
                <c:pt idx="628">
                  <c:v>42199</c:v>
                </c:pt>
                <c:pt idx="629">
                  <c:v>42200</c:v>
                </c:pt>
                <c:pt idx="630">
                  <c:v>42201</c:v>
                </c:pt>
                <c:pt idx="631">
                  <c:v>42202</c:v>
                </c:pt>
                <c:pt idx="632">
                  <c:v>42204</c:v>
                </c:pt>
                <c:pt idx="633">
                  <c:v>42205</c:v>
                </c:pt>
                <c:pt idx="634">
                  <c:v>42206</c:v>
                </c:pt>
                <c:pt idx="635">
                  <c:v>42207</c:v>
                </c:pt>
                <c:pt idx="636">
                  <c:v>42208</c:v>
                </c:pt>
                <c:pt idx="637">
                  <c:v>42209</c:v>
                </c:pt>
                <c:pt idx="638">
                  <c:v>42211</c:v>
                </c:pt>
                <c:pt idx="639">
                  <c:v>42212</c:v>
                </c:pt>
                <c:pt idx="640">
                  <c:v>42213</c:v>
                </c:pt>
                <c:pt idx="641">
                  <c:v>42214</c:v>
                </c:pt>
                <c:pt idx="642">
                  <c:v>42215</c:v>
                </c:pt>
                <c:pt idx="643">
                  <c:v>42216</c:v>
                </c:pt>
                <c:pt idx="644">
                  <c:v>42218</c:v>
                </c:pt>
                <c:pt idx="645">
                  <c:v>42219</c:v>
                </c:pt>
                <c:pt idx="646">
                  <c:v>42220</c:v>
                </c:pt>
                <c:pt idx="647">
                  <c:v>42221</c:v>
                </c:pt>
                <c:pt idx="648">
                  <c:v>42222</c:v>
                </c:pt>
                <c:pt idx="649">
                  <c:v>42223</c:v>
                </c:pt>
                <c:pt idx="650">
                  <c:v>42225</c:v>
                </c:pt>
                <c:pt idx="651">
                  <c:v>42226</c:v>
                </c:pt>
                <c:pt idx="652">
                  <c:v>42227</c:v>
                </c:pt>
                <c:pt idx="653">
                  <c:v>42228</c:v>
                </c:pt>
                <c:pt idx="654">
                  <c:v>42229</c:v>
                </c:pt>
                <c:pt idx="655">
                  <c:v>42230</c:v>
                </c:pt>
                <c:pt idx="656">
                  <c:v>42232</c:v>
                </c:pt>
                <c:pt idx="657">
                  <c:v>42233</c:v>
                </c:pt>
                <c:pt idx="658">
                  <c:v>42234</c:v>
                </c:pt>
                <c:pt idx="659">
                  <c:v>42235</c:v>
                </c:pt>
                <c:pt idx="660">
                  <c:v>42236</c:v>
                </c:pt>
                <c:pt idx="661">
                  <c:v>42237</c:v>
                </c:pt>
                <c:pt idx="662">
                  <c:v>42239</c:v>
                </c:pt>
                <c:pt idx="663">
                  <c:v>42240</c:v>
                </c:pt>
                <c:pt idx="664">
                  <c:v>42241</c:v>
                </c:pt>
                <c:pt idx="665">
                  <c:v>42242</c:v>
                </c:pt>
                <c:pt idx="666">
                  <c:v>42243</c:v>
                </c:pt>
                <c:pt idx="667">
                  <c:v>42244</c:v>
                </c:pt>
                <c:pt idx="668">
                  <c:v>42246</c:v>
                </c:pt>
                <c:pt idx="669">
                  <c:v>42247</c:v>
                </c:pt>
                <c:pt idx="670">
                  <c:v>42248</c:v>
                </c:pt>
                <c:pt idx="671">
                  <c:v>42249</c:v>
                </c:pt>
                <c:pt idx="672">
                  <c:v>42253</c:v>
                </c:pt>
                <c:pt idx="673">
                  <c:v>42254</c:v>
                </c:pt>
                <c:pt idx="674">
                  <c:v>42255</c:v>
                </c:pt>
                <c:pt idx="675">
                  <c:v>42256</c:v>
                </c:pt>
                <c:pt idx="676">
                  <c:v>42257</c:v>
                </c:pt>
                <c:pt idx="677">
                  <c:v>42258</c:v>
                </c:pt>
                <c:pt idx="678">
                  <c:v>42260</c:v>
                </c:pt>
                <c:pt idx="679">
                  <c:v>42261</c:v>
                </c:pt>
                <c:pt idx="680">
                  <c:v>42262</c:v>
                </c:pt>
                <c:pt idx="681">
                  <c:v>42263</c:v>
                </c:pt>
                <c:pt idx="682">
                  <c:v>42264</c:v>
                </c:pt>
                <c:pt idx="683">
                  <c:v>42265</c:v>
                </c:pt>
                <c:pt idx="684">
                  <c:v>42267</c:v>
                </c:pt>
                <c:pt idx="685">
                  <c:v>42268</c:v>
                </c:pt>
                <c:pt idx="686">
                  <c:v>42269</c:v>
                </c:pt>
                <c:pt idx="687">
                  <c:v>42270</c:v>
                </c:pt>
                <c:pt idx="688">
                  <c:v>42271</c:v>
                </c:pt>
                <c:pt idx="689">
                  <c:v>42272</c:v>
                </c:pt>
                <c:pt idx="690">
                  <c:v>42274</c:v>
                </c:pt>
                <c:pt idx="691">
                  <c:v>42275</c:v>
                </c:pt>
                <c:pt idx="692">
                  <c:v>42276</c:v>
                </c:pt>
                <c:pt idx="693">
                  <c:v>42277</c:v>
                </c:pt>
                <c:pt idx="694">
                  <c:v>42284</c:v>
                </c:pt>
                <c:pt idx="695">
                  <c:v>42285</c:v>
                </c:pt>
                <c:pt idx="696">
                  <c:v>42286</c:v>
                </c:pt>
                <c:pt idx="697">
                  <c:v>42288</c:v>
                </c:pt>
                <c:pt idx="698">
                  <c:v>42289</c:v>
                </c:pt>
                <c:pt idx="699">
                  <c:v>42290</c:v>
                </c:pt>
                <c:pt idx="700">
                  <c:v>42291</c:v>
                </c:pt>
                <c:pt idx="701">
                  <c:v>42292</c:v>
                </c:pt>
                <c:pt idx="702">
                  <c:v>42293</c:v>
                </c:pt>
                <c:pt idx="703">
                  <c:v>42295</c:v>
                </c:pt>
                <c:pt idx="704">
                  <c:v>42296</c:v>
                </c:pt>
                <c:pt idx="705">
                  <c:v>42297</c:v>
                </c:pt>
                <c:pt idx="706">
                  <c:v>42298</c:v>
                </c:pt>
                <c:pt idx="707">
                  <c:v>42299</c:v>
                </c:pt>
                <c:pt idx="708">
                  <c:v>42300</c:v>
                </c:pt>
                <c:pt idx="709">
                  <c:v>42302</c:v>
                </c:pt>
                <c:pt idx="710">
                  <c:v>42303</c:v>
                </c:pt>
                <c:pt idx="711">
                  <c:v>42304</c:v>
                </c:pt>
                <c:pt idx="712">
                  <c:v>42305</c:v>
                </c:pt>
                <c:pt idx="713">
                  <c:v>42306</c:v>
                </c:pt>
                <c:pt idx="714">
                  <c:v>42307</c:v>
                </c:pt>
                <c:pt idx="715">
                  <c:v>42309</c:v>
                </c:pt>
                <c:pt idx="716">
                  <c:v>42310</c:v>
                </c:pt>
                <c:pt idx="717">
                  <c:v>42311</c:v>
                </c:pt>
                <c:pt idx="718">
                  <c:v>42312</c:v>
                </c:pt>
                <c:pt idx="719">
                  <c:v>42313</c:v>
                </c:pt>
                <c:pt idx="720">
                  <c:v>42314</c:v>
                </c:pt>
                <c:pt idx="721">
                  <c:v>42316</c:v>
                </c:pt>
                <c:pt idx="722">
                  <c:v>42317</c:v>
                </c:pt>
                <c:pt idx="723">
                  <c:v>42318</c:v>
                </c:pt>
                <c:pt idx="724">
                  <c:v>42319</c:v>
                </c:pt>
                <c:pt idx="725">
                  <c:v>42320</c:v>
                </c:pt>
                <c:pt idx="726">
                  <c:v>42321</c:v>
                </c:pt>
                <c:pt idx="727">
                  <c:v>42323</c:v>
                </c:pt>
                <c:pt idx="728">
                  <c:v>42324</c:v>
                </c:pt>
                <c:pt idx="729">
                  <c:v>42325</c:v>
                </c:pt>
                <c:pt idx="730">
                  <c:v>42326</c:v>
                </c:pt>
                <c:pt idx="731">
                  <c:v>42327</c:v>
                </c:pt>
                <c:pt idx="732">
                  <c:v>42328</c:v>
                </c:pt>
                <c:pt idx="733">
                  <c:v>42330</c:v>
                </c:pt>
                <c:pt idx="734">
                  <c:v>42331</c:v>
                </c:pt>
                <c:pt idx="735">
                  <c:v>42332</c:v>
                </c:pt>
                <c:pt idx="736">
                  <c:v>42333</c:v>
                </c:pt>
                <c:pt idx="737">
                  <c:v>42334</c:v>
                </c:pt>
                <c:pt idx="738">
                  <c:v>42335</c:v>
                </c:pt>
                <c:pt idx="739">
                  <c:v>42337</c:v>
                </c:pt>
                <c:pt idx="740">
                  <c:v>42338</c:v>
                </c:pt>
                <c:pt idx="741">
                  <c:v>42339</c:v>
                </c:pt>
                <c:pt idx="742">
                  <c:v>42340</c:v>
                </c:pt>
                <c:pt idx="743">
                  <c:v>42341</c:v>
                </c:pt>
                <c:pt idx="744">
                  <c:v>42342</c:v>
                </c:pt>
                <c:pt idx="745">
                  <c:v>42344</c:v>
                </c:pt>
                <c:pt idx="746">
                  <c:v>42345</c:v>
                </c:pt>
                <c:pt idx="747">
                  <c:v>42346</c:v>
                </c:pt>
                <c:pt idx="748">
                  <c:v>42347</c:v>
                </c:pt>
                <c:pt idx="749">
                  <c:v>42348</c:v>
                </c:pt>
                <c:pt idx="750">
                  <c:v>42349</c:v>
                </c:pt>
                <c:pt idx="751">
                  <c:v>42351</c:v>
                </c:pt>
                <c:pt idx="752">
                  <c:v>42352</c:v>
                </c:pt>
                <c:pt idx="753">
                  <c:v>42353</c:v>
                </c:pt>
                <c:pt idx="754">
                  <c:v>42354</c:v>
                </c:pt>
                <c:pt idx="755">
                  <c:v>42355</c:v>
                </c:pt>
                <c:pt idx="756">
                  <c:v>42356</c:v>
                </c:pt>
                <c:pt idx="757">
                  <c:v>42358</c:v>
                </c:pt>
                <c:pt idx="758">
                  <c:v>42359</c:v>
                </c:pt>
                <c:pt idx="759">
                  <c:v>42360</c:v>
                </c:pt>
                <c:pt idx="760">
                  <c:v>42361</c:v>
                </c:pt>
                <c:pt idx="761">
                  <c:v>42362</c:v>
                </c:pt>
                <c:pt idx="762">
                  <c:v>42363</c:v>
                </c:pt>
                <c:pt idx="763">
                  <c:v>42365</c:v>
                </c:pt>
                <c:pt idx="764">
                  <c:v>42366</c:v>
                </c:pt>
                <c:pt idx="765">
                  <c:v>42367</c:v>
                </c:pt>
                <c:pt idx="766">
                  <c:v>42368</c:v>
                </c:pt>
                <c:pt idx="767">
                  <c:v>42369</c:v>
                </c:pt>
                <c:pt idx="768">
                  <c:v>42372</c:v>
                </c:pt>
                <c:pt idx="769">
                  <c:v>42373</c:v>
                </c:pt>
                <c:pt idx="770">
                  <c:v>42374</c:v>
                </c:pt>
                <c:pt idx="771">
                  <c:v>42375</c:v>
                </c:pt>
                <c:pt idx="772">
                  <c:v>42376</c:v>
                </c:pt>
                <c:pt idx="773">
                  <c:v>42377</c:v>
                </c:pt>
                <c:pt idx="774">
                  <c:v>42379</c:v>
                </c:pt>
                <c:pt idx="775">
                  <c:v>42380</c:v>
                </c:pt>
                <c:pt idx="776">
                  <c:v>42381</c:v>
                </c:pt>
                <c:pt idx="777">
                  <c:v>42382</c:v>
                </c:pt>
                <c:pt idx="778">
                  <c:v>42383</c:v>
                </c:pt>
                <c:pt idx="779">
                  <c:v>42384</c:v>
                </c:pt>
                <c:pt idx="780">
                  <c:v>42386</c:v>
                </c:pt>
                <c:pt idx="781">
                  <c:v>42387</c:v>
                </c:pt>
                <c:pt idx="782">
                  <c:v>42388</c:v>
                </c:pt>
                <c:pt idx="783">
                  <c:v>42389</c:v>
                </c:pt>
                <c:pt idx="784">
                  <c:v>42390</c:v>
                </c:pt>
                <c:pt idx="785">
                  <c:v>42391</c:v>
                </c:pt>
                <c:pt idx="786">
                  <c:v>42393</c:v>
                </c:pt>
                <c:pt idx="787">
                  <c:v>42394</c:v>
                </c:pt>
                <c:pt idx="788">
                  <c:v>42395</c:v>
                </c:pt>
                <c:pt idx="789">
                  <c:v>42396</c:v>
                </c:pt>
                <c:pt idx="790">
                  <c:v>42397</c:v>
                </c:pt>
                <c:pt idx="791">
                  <c:v>42398</c:v>
                </c:pt>
                <c:pt idx="792">
                  <c:v>42400</c:v>
                </c:pt>
                <c:pt idx="793">
                  <c:v>42401</c:v>
                </c:pt>
                <c:pt idx="794">
                  <c:v>42402</c:v>
                </c:pt>
                <c:pt idx="795">
                  <c:v>42403</c:v>
                </c:pt>
                <c:pt idx="796">
                  <c:v>42404</c:v>
                </c:pt>
                <c:pt idx="797">
                  <c:v>42405</c:v>
                </c:pt>
                <c:pt idx="798">
                  <c:v>42414</c:v>
                </c:pt>
                <c:pt idx="799">
                  <c:v>42415</c:v>
                </c:pt>
                <c:pt idx="800">
                  <c:v>42416</c:v>
                </c:pt>
                <c:pt idx="801">
                  <c:v>42417</c:v>
                </c:pt>
                <c:pt idx="802">
                  <c:v>42418</c:v>
                </c:pt>
                <c:pt idx="803">
                  <c:v>42419</c:v>
                </c:pt>
                <c:pt idx="804">
                  <c:v>42421</c:v>
                </c:pt>
                <c:pt idx="805">
                  <c:v>42422</c:v>
                </c:pt>
                <c:pt idx="806">
                  <c:v>42423</c:v>
                </c:pt>
                <c:pt idx="807">
                  <c:v>42424</c:v>
                </c:pt>
                <c:pt idx="808">
                  <c:v>42425</c:v>
                </c:pt>
                <c:pt idx="809">
                  <c:v>42426</c:v>
                </c:pt>
                <c:pt idx="810">
                  <c:v>42428</c:v>
                </c:pt>
                <c:pt idx="811">
                  <c:v>42429</c:v>
                </c:pt>
                <c:pt idx="812">
                  <c:v>42430</c:v>
                </c:pt>
                <c:pt idx="813">
                  <c:v>42431</c:v>
                </c:pt>
                <c:pt idx="814">
                  <c:v>42432</c:v>
                </c:pt>
                <c:pt idx="815">
                  <c:v>42433</c:v>
                </c:pt>
                <c:pt idx="816">
                  <c:v>42435</c:v>
                </c:pt>
                <c:pt idx="817">
                  <c:v>42436</c:v>
                </c:pt>
                <c:pt idx="818">
                  <c:v>42437</c:v>
                </c:pt>
                <c:pt idx="819">
                  <c:v>42438</c:v>
                </c:pt>
                <c:pt idx="820">
                  <c:v>42439</c:v>
                </c:pt>
                <c:pt idx="821">
                  <c:v>42440</c:v>
                </c:pt>
                <c:pt idx="822">
                  <c:v>42442</c:v>
                </c:pt>
                <c:pt idx="823">
                  <c:v>42443</c:v>
                </c:pt>
                <c:pt idx="824">
                  <c:v>42444</c:v>
                </c:pt>
                <c:pt idx="825">
                  <c:v>42445</c:v>
                </c:pt>
                <c:pt idx="826">
                  <c:v>42446</c:v>
                </c:pt>
                <c:pt idx="827">
                  <c:v>42447</c:v>
                </c:pt>
                <c:pt idx="828">
                  <c:v>42449</c:v>
                </c:pt>
                <c:pt idx="829">
                  <c:v>42450</c:v>
                </c:pt>
                <c:pt idx="830">
                  <c:v>42451</c:v>
                </c:pt>
                <c:pt idx="831">
                  <c:v>42452</c:v>
                </c:pt>
                <c:pt idx="832">
                  <c:v>42453</c:v>
                </c:pt>
                <c:pt idx="833">
                  <c:v>42454</c:v>
                </c:pt>
                <c:pt idx="834">
                  <c:v>42456</c:v>
                </c:pt>
                <c:pt idx="835">
                  <c:v>42457</c:v>
                </c:pt>
                <c:pt idx="836">
                  <c:v>42458</c:v>
                </c:pt>
                <c:pt idx="837">
                  <c:v>42459</c:v>
                </c:pt>
                <c:pt idx="838">
                  <c:v>42460</c:v>
                </c:pt>
                <c:pt idx="839">
                  <c:v>42461</c:v>
                </c:pt>
                <c:pt idx="840">
                  <c:v>42464</c:v>
                </c:pt>
                <c:pt idx="841">
                  <c:v>42465</c:v>
                </c:pt>
                <c:pt idx="842">
                  <c:v>42466</c:v>
                </c:pt>
                <c:pt idx="843">
                  <c:v>42467</c:v>
                </c:pt>
                <c:pt idx="844">
                  <c:v>42468</c:v>
                </c:pt>
                <c:pt idx="845">
                  <c:v>42470</c:v>
                </c:pt>
                <c:pt idx="846">
                  <c:v>42471</c:v>
                </c:pt>
                <c:pt idx="847">
                  <c:v>42472</c:v>
                </c:pt>
                <c:pt idx="848">
                  <c:v>42473</c:v>
                </c:pt>
                <c:pt idx="849">
                  <c:v>42474</c:v>
                </c:pt>
                <c:pt idx="850">
                  <c:v>42475</c:v>
                </c:pt>
                <c:pt idx="851">
                  <c:v>42477</c:v>
                </c:pt>
                <c:pt idx="852">
                  <c:v>42478</c:v>
                </c:pt>
                <c:pt idx="853">
                  <c:v>42479</c:v>
                </c:pt>
                <c:pt idx="854">
                  <c:v>42480</c:v>
                </c:pt>
                <c:pt idx="855">
                  <c:v>42481</c:v>
                </c:pt>
                <c:pt idx="856">
                  <c:v>42482</c:v>
                </c:pt>
                <c:pt idx="857">
                  <c:v>42484</c:v>
                </c:pt>
                <c:pt idx="858">
                  <c:v>42485</c:v>
                </c:pt>
                <c:pt idx="859">
                  <c:v>42486</c:v>
                </c:pt>
                <c:pt idx="860">
                  <c:v>42487</c:v>
                </c:pt>
                <c:pt idx="861">
                  <c:v>42488</c:v>
                </c:pt>
                <c:pt idx="862">
                  <c:v>42489</c:v>
                </c:pt>
                <c:pt idx="863">
                  <c:v>42492</c:v>
                </c:pt>
                <c:pt idx="864">
                  <c:v>42493</c:v>
                </c:pt>
                <c:pt idx="865">
                  <c:v>42494</c:v>
                </c:pt>
                <c:pt idx="866">
                  <c:v>42495</c:v>
                </c:pt>
                <c:pt idx="867">
                  <c:v>42496</c:v>
                </c:pt>
                <c:pt idx="868">
                  <c:v>42498</c:v>
                </c:pt>
                <c:pt idx="869">
                  <c:v>42499</c:v>
                </c:pt>
                <c:pt idx="870">
                  <c:v>42500</c:v>
                </c:pt>
                <c:pt idx="871">
                  <c:v>42501</c:v>
                </c:pt>
                <c:pt idx="872">
                  <c:v>42502</c:v>
                </c:pt>
                <c:pt idx="873">
                  <c:v>42503</c:v>
                </c:pt>
                <c:pt idx="874">
                  <c:v>42505</c:v>
                </c:pt>
                <c:pt idx="875">
                  <c:v>42506</c:v>
                </c:pt>
                <c:pt idx="876">
                  <c:v>42507</c:v>
                </c:pt>
                <c:pt idx="877">
                  <c:v>42508</c:v>
                </c:pt>
                <c:pt idx="878">
                  <c:v>42509</c:v>
                </c:pt>
                <c:pt idx="879">
                  <c:v>42510</c:v>
                </c:pt>
                <c:pt idx="880">
                  <c:v>42512</c:v>
                </c:pt>
                <c:pt idx="881">
                  <c:v>42513</c:v>
                </c:pt>
                <c:pt idx="882">
                  <c:v>42514</c:v>
                </c:pt>
                <c:pt idx="883">
                  <c:v>42515</c:v>
                </c:pt>
                <c:pt idx="884">
                  <c:v>42516</c:v>
                </c:pt>
                <c:pt idx="885">
                  <c:v>42517</c:v>
                </c:pt>
                <c:pt idx="886">
                  <c:v>42519</c:v>
                </c:pt>
                <c:pt idx="887">
                  <c:v>42520</c:v>
                </c:pt>
                <c:pt idx="888">
                  <c:v>42521</c:v>
                </c:pt>
                <c:pt idx="889">
                  <c:v>42522</c:v>
                </c:pt>
                <c:pt idx="890">
                  <c:v>42523</c:v>
                </c:pt>
                <c:pt idx="891">
                  <c:v>42524</c:v>
                </c:pt>
                <c:pt idx="892">
                  <c:v>42526</c:v>
                </c:pt>
                <c:pt idx="893">
                  <c:v>42527</c:v>
                </c:pt>
                <c:pt idx="894">
                  <c:v>42528</c:v>
                </c:pt>
                <c:pt idx="895">
                  <c:v>42529</c:v>
                </c:pt>
                <c:pt idx="896">
                  <c:v>42533</c:v>
                </c:pt>
                <c:pt idx="897">
                  <c:v>42534</c:v>
                </c:pt>
                <c:pt idx="898">
                  <c:v>42535</c:v>
                </c:pt>
                <c:pt idx="899">
                  <c:v>42536</c:v>
                </c:pt>
                <c:pt idx="900">
                  <c:v>42537</c:v>
                </c:pt>
                <c:pt idx="901">
                  <c:v>42538</c:v>
                </c:pt>
                <c:pt idx="902">
                  <c:v>42540</c:v>
                </c:pt>
                <c:pt idx="903">
                  <c:v>42541</c:v>
                </c:pt>
                <c:pt idx="904">
                  <c:v>42542</c:v>
                </c:pt>
                <c:pt idx="905">
                  <c:v>42543</c:v>
                </c:pt>
                <c:pt idx="906">
                  <c:v>42544</c:v>
                </c:pt>
                <c:pt idx="907">
                  <c:v>42545</c:v>
                </c:pt>
                <c:pt idx="908">
                  <c:v>42547</c:v>
                </c:pt>
                <c:pt idx="909">
                  <c:v>42548</c:v>
                </c:pt>
                <c:pt idx="910">
                  <c:v>42549</c:v>
                </c:pt>
                <c:pt idx="911">
                  <c:v>42550</c:v>
                </c:pt>
                <c:pt idx="912">
                  <c:v>42551</c:v>
                </c:pt>
                <c:pt idx="913">
                  <c:v>42552</c:v>
                </c:pt>
                <c:pt idx="914">
                  <c:v>42554</c:v>
                </c:pt>
                <c:pt idx="915">
                  <c:v>42555</c:v>
                </c:pt>
                <c:pt idx="916">
                  <c:v>42556</c:v>
                </c:pt>
                <c:pt idx="917">
                  <c:v>42557</c:v>
                </c:pt>
                <c:pt idx="918">
                  <c:v>42558</c:v>
                </c:pt>
                <c:pt idx="919">
                  <c:v>42559</c:v>
                </c:pt>
                <c:pt idx="920">
                  <c:v>42561</c:v>
                </c:pt>
                <c:pt idx="921">
                  <c:v>42562</c:v>
                </c:pt>
                <c:pt idx="922">
                  <c:v>42563</c:v>
                </c:pt>
                <c:pt idx="923">
                  <c:v>42564</c:v>
                </c:pt>
                <c:pt idx="924">
                  <c:v>42565</c:v>
                </c:pt>
                <c:pt idx="925">
                  <c:v>42566</c:v>
                </c:pt>
                <c:pt idx="926">
                  <c:v>42568</c:v>
                </c:pt>
                <c:pt idx="927">
                  <c:v>42569</c:v>
                </c:pt>
                <c:pt idx="928">
                  <c:v>42570</c:v>
                </c:pt>
                <c:pt idx="929">
                  <c:v>42571</c:v>
                </c:pt>
                <c:pt idx="930">
                  <c:v>42572</c:v>
                </c:pt>
                <c:pt idx="931">
                  <c:v>42573</c:v>
                </c:pt>
                <c:pt idx="932">
                  <c:v>42575</c:v>
                </c:pt>
                <c:pt idx="933">
                  <c:v>42576</c:v>
                </c:pt>
                <c:pt idx="934">
                  <c:v>42577</c:v>
                </c:pt>
                <c:pt idx="935">
                  <c:v>42578</c:v>
                </c:pt>
                <c:pt idx="936">
                  <c:v>42579</c:v>
                </c:pt>
                <c:pt idx="937">
                  <c:v>42580</c:v>
                </c:pt>
                <c:pt idx="938">
                  <c:v>42582</c:v>
                </c:pt>
                <c:pt idx="939">
                  <c:v>42583</c:v>
                </c:pt>
                <c:pt idx="940">
                  <c:v>42584</c:v>
                </c:pt>
                <c:pt idx="941">
                  <c:v>42585</c:v>
                </c:pt>
                <c:pt idx="942">
                  <c:v>42586</c:v>
                </c:pt>
                <c:pt idx="943">
                  <c:v>42587</c:v>
                </c:pt>
                <c:pt idx="944">
                  <c:v>42589</c:v>
                </c:pt>
                <c:pt idx="945">
                  <c:v>42590</c:v>
                </c:pt>
                <c:pt idx="946">
                  <c:v>42591</c:v>
                </c:pt>
                <c:pt idx="947">
                  <c:v>42592</c:v>
                </c:pt>
                <c:pt idx="948">
                  <c:v>42593</c:v>
                </c:pt>
                <c:pt idx="949">
                  <c:v>42594</c:v>
                </c:pt>
                <c:pt idx="950">
                  <c:v>42596</c:v>
                </c:pt>
                <c:pt idx="951">
                  <c:v>42597</c:v>
                </c:pt>
                <c:pt idx="952">
                  <c:v>42598</c:v>
                </c:pt>
                <c:pt idx="953">
                  <c:v>42599</c:v>
                </c:pt>
                <c:pt idx="954">
                  <c:v>42600</c:v>
                </c:pt>
                <c:pt idx="955">
                  <c:v>42601</c:v>
                </c:pt>
                <c:pt idx="956">
                  <c:v>42603</c:v>
                </c:pt>
                <c:pt idx="957">
                  <c:v>42604</c:v>
                </c:pt>
                <c:pt idx="958">
                  <c:v>42605</c:v>
                </c:pt>
                <c:pt idx="959">
                  <c:v>42606</c:v>
                </c:pt>
                <c:pt idx="960">
                  <c:v>42607</c:v>
                </c:pt>
                <c:pt idx="961">
                  <c:v>42608</c:v>
                </c:pt>
                <c:pt idx="962">
                  <c:v>42610</c:v>
                </c:pt>
                <c:pt idx="963">
                  <c:v>42611</c:v>
                </c:pt>
                <c:pt idx="964">
                  <c:v>42612</c:v>
                </c:pt>
                <c:pt idx="965">
                  <c:v>42613</c:v>
                </c:pt>
                <c:pt idx="966">
                  <c:v>42614</c:v>
                </c:pt>
                <c:pt idx="967">
                  <c:v>42615</c:v>
                </c:pt>
                <c:pt idx="968">
                  <c:v>42617</c:v>
                </c:pt>
                <c:pt idx="969">
                  <c:v>42618</c:v>
                </c:pt>
                <c:pt idx="970">
                  <c:v>42619</c:v>
                </c:pt>
                <c:pt idx="971">
                  <c:v>42620</c:v>
                </c:pt>
                <c:pt idx="972">
                  <c:v>42621</c:v>
                </c:pt>
                <c:pt idx="973">
                  <c:v>42622</c:v>
                </c:pt>
                <c:pt idx="974">
                  <c:v>42624</c:v>
                </c:pt>
                <c:pt idx="975">
                  <c:v>42625</c:v>
                </c:pt>
                <c:pt idx="976">
                  <c:v>42626</c:v>
                </c:pt>
                <c:pt idx="977">
                  <c:v>42627</c:v>
                </c:pt>
                <c:pt idx="978">
                  <c:v>42631</c:v>
                </c:pt>
                <c:pt idx="979">
                  <c:v>42632</c:v>
                </c:pt>
                <c:pt idx="980">
                  <c:v>42633</c:v>
                </c:pt>
                <c:pt idx="981">
                  <c:v>42634</c:v>
                </c:pt>
                <c:pt idx="982">
                  <c:v>42635</c:v>
                </c:pt>
                <c:pt idx="983">
                  <c:v>42636</c:v>
                </c:pt>
                <c:pt idx="984">
                  <c:v>42638</c:v>
                </c:pt>
                <c:pt idx="985">
                  <c:v>42639</c:v>
                </c:pt>
                <c:pt idx="986">
                  <c:v>42640</c:v>
                </c:pt>
                <c:pt idx="987">
                  <c:v>42641</c:v>
                </c:pt>
                <c:pt idx="988">
                  <c:v>42642</c:v>
                </c:pt>
                <c:pt idx="989">
                  <c:v>42643</c:v>
                </c:pt>
                <c:pt idx="990">
                  <c:v>42652</c:v>
                </c:pt>
                <c:pt idx="991">
                  <c:v>42653</c:v>
                </c:pt>
                <c:pt idx="992">
                  <c:v>42654</c:v>
                </c:pt>
                <c:pt idx="993">
                  <c:v>42655</c:v>
                </c:pt>
                <c:pt idx="994">
                  <c:v>42656</c:v>
                </c:pt>
                <c:pt idx="995">
                  <c:v>42657</c:v>
                </c:pt>
                <c:pt idx="996">
                  <c:v>42659</c:v>
                </c:pt>
                <c:pt idx="997">
                  <c:v>42660</c:v>
                </c:pt>
                <c:pt idx="998">
                  <c:v>42661</c:v>
                </c:pt>
                <c:pt idx="999">
                  <c:v>42662</c:v>
                </c:pt>
                <c:pt idx="1000">
                  <c:v>42663</c:v>
                </c:pt>
                <c:pt idx="1001">
                  <c:v>42664</c:v>
                </c:pt>
                <c:pt idx="1002">
                  <c:v>42666</c:v>
                </c:pt>
                <c:pt idx="1003">
                  <c:v>42667</c:v>
                </c:pt>
                <c:pt idx="1004">
                  <c:v>42668</c:v>
                </c:pt>
                <c:pt idx="1005">
                  <c:v>42669</c:v>
                </c:pt>
                <c:pt idx="1006">
                  <c:v>42670</c:v>
                </c:pt>
                <c:pt idx="1007">
                  <c:v>42671</c:v>
                </c:pt>
                <c:pt idx="1008">
                  <c:v>42673</c:v>
                </c:pt>
                <c:pt idx="1009">
                  <c:v>42674</c:v>
                </c:pt>
                <c:pt idx="1010">
                  <c:v>42675</c:v>
                </c:pt>
                <c:pt idx="1011">
                  <c:v>42676</c:v>
                </c:pt>
                <c:pt idx="1012">
                  <c:v>42677</c:v>
                </c:pt>
                <c:pt idx="1013">
                  <c:v>42678</c:v>
                </c:pt>
                <c:pt idx="1014">
                  <c:v>42680</c:v>
                </c:pt>
                <c:pt idx="1015">
                  <c:v>42681</c:v>
                </c:pt>
                <c:pt idx="1016">
                  <c:v>42682</c:v>
                </c:pt>
                <c:pt idx="1017">
                  <c:v>42683</c:v>
                </c:pt>
                <c:pt idx="1018">
                  <c:v>42684</c:v>
                </c:pt>
                <c:pt idx="1019">
                  <c:v>42685</c:v>
                </c:pt>
                <c:pt idx="1020">
                  <c:v>42687</c:v>
                </c:pt>
                <c:pt idx="1021">
                  <c:v>42688</c:v>
                </c:pt>
                <c:pt idx="1022">
                  <c:v>42689</c:v>
                </c:pt>
                <c:pt idx="1023">
                  <c:v>42690</c:v>
                </c:pt>
                <c:pt idx="1024">
                  <c:v>42691</c:v>
                </c:pt>
                <c:pt idx="1025">
                  <c:v>42692</c:v>
                </c:pt>
                <c:pt idx="1026">
                  <c:v>42694</c:v>
                </c:pt>
                <c:pt idx="1027">
                  <c:v>42695</c:v>
                </c:pt>
                <c:pt idx="1028">
                  <c:v>42696</c:v>
                </c:pt>
                <c:pt idx="1029">
                  <c:v>42697</c:v>
                </c:pt>
                <c:pt idx="1030">
                  <c:v>42698</c:v>
                </c:pt>
                <c:pt idx="1031">
                  <c:v>42699</c:v>
                </c:pt>
                <c:pt idx="1032">
                  <c:v>42701</c:v>
                </c:pt>
                <c:pt idx="1033">
                  <c:v>42702</c:v>
                </c:pt>
                <c:pt idx="1034">
                  <c:v>42703</c:v>
                </c:pt>
                <c:pt idx="1035">
                  <c:v>42704</c:v>
                </c:pt>
                <c:pt idx="1036">
                  <c:v>42705</c:v>
                </c:pt>
                <c:pt idx="1037">
                  <c:v>42706</c:v>
                </c:pt>
                <c:pt idx="1038">
                  <c:v>42708</c:v>
                </c:pt>
                <c:pt idx="1039">
                  <c:v>42709</c:v>
                </c:pt>
                <c:pt idx="1040">
                  <c:v>42710</c:v>
                </c:pt>
                <c:pt idx="1041">
                  <c:v>42711</c:v>
                </c:pt>
                <c:pt idx="1042">
                  <c:v>42712</c:v>
                </c:pt>
                <c:pt idx="1043">
                  <c:v>42713</c:v>
                </c:pt>
                <c:pt idx="1044">
                  <c:v>42715</c:v>
                </c:pt>
                <c:pt idx="1045">
                  <c:v>42716</c:v>
                </c:pt>
                <c:pt idx="1046">
                  <c:v>42717</c:v>
                </c:pt>
                <c:pt idx="1047">
                  <c:v>42718</c:v>
                </c:pt>
                <c:pt idx="1048">
                  <c:v>42719</c:v>
                </c:pt>
                <c:pt idx="1049">
                  <c:v>42720</c:v>
                </c:pt>
                <c:pt idx="1050">
                  <c:v>42722</c:v>
                </c:pt>
                <c:pt idx="1051">
                  <c:v>42723</c:v>
                </c:pt>
                <c:pt idx="1052">
                  <c:v>42724</c:v>
                </c:pt>
                <c:pt idx="1053">
                  <c:v>42725</c:v>
                </c:pt>
                <c:pt idx="1054">
                  <c:v>42726</c:v>
                </c:pt>
                <c:pt idx="1055">
                  <c:v>42727</c:v>
                </c:pt>
                <c:pt idx="1056">
                  <c:v>42729</c:v>
                </c:pt>
                <c:pt idx="1057">
                  <c:v>42730</c:v>
                </c:pt>
                <c:pt idx="1058">
                  <c:v>42731</c:v>
                </c:pt>
                <c:pt idx="1059">
                  <c:v>42732</c:v>
                </c:pt>
                <c:pt idx="1060">
                  <c:v>42733</c:v>
                </c:pt>
                <c:pt idx="1061">
                  <c:v>42734</c:v>
                </c:pt>
                <c:pt idx="1062">
                  <c:v>42735</c:v>
                </c:pt>
                <c:pt idx="1063">
                  <c:v>42737</c:v>
                </c:pt>
                <c:pt idx="1064">
                  <c:v>42738</c:v>
                </c:pt>
                <c:pt idx="1065">
                  <c:v>42739</c:v>
                </c:pt>
                <c:pt idx="1066">
                  <c:v>42740</c:v>
                </c:pt>
                <c:pt idx="1067">
                  <c:v>42741</c:v>
                </c:pt>
                <c:pt idx="1068">
                  <c:v>42743</c:v>
                </c:pt>
                <c:pt idx="1069">
                  <c:v>42744</c:v>
                </c:pt>
                <c:pt idx="1070">
                  <c:v>42745</c:v>
                </c:pt>
                <c:pt idx="1071">
                  <c:v>42746</c:v>
                </c:pt>
                <c:pt idx="1072">
                  <c:v>42747</c:v>
                </c:pt>
                <c:pt idx="1073">
                  <c:v>42748</c:v>
                </c:pt>
                <c:pt idx="1074">
                  <c:v>42750</c:v>
                </c:pt>
                <c:pt idx="1075">
                  <c:v>42751</c:v>
                </c:pt>
                <c:pt idx="1076">
                  <c:v>42752</c:v>
                </c:pt>
                <c:pt idx="1077">
                  <c:v>42753</c:v>
                </c:pt>
                <c:pt idx="1078">
                  <c:v>42754</c:v>
                </c:pt>
                <c:pt idx="1079">
                  <c:v>42755</c:v>
                </c:pt>
                <c:pt idx="1080">
                  <c:v>42757</c:v>
                </c:pt>
                <c:pt idx="1081">
                  <c:v>42758</c:v>
                </c:pt>
                <c:pt idx="1082">
                  <c:v>42759</c:v>
                </c:pt>
                <c:pt idx="1083">
                  <c:v>42760</c:v>
                </c:pt>
                <c:pt idx="1084">
                  <c:v>42761</c:v>
                </c:pt>
                <c:pt idx="1085">
                  <c:v>42768</c:v>
                </c:pt>
                <c:pt idx="1086">
                  <c:v>42769</c:v>
                </c:pt>
                <c:pt idx="1087">
                  <c:v>42771</c:v>
                </c:pt>
                <c:pt idx="1088">
                  <c:v>42772</c:v>
                </c:pt>
                <c:pt idx="1089">
                  <c:v>42773</c:v>
                </c:pt>
                <c:pt idx="1090">
                  <c:v>42774</c:v>
                </c:pt>
                <c:pt idx="1091">
                  <c:v>42775</c:v>
                </c:pt>
                <c:pt idx="1092">
                  <c:v>42776</c:v>
                </c:pt>
                <c:pt idx="1093">
                  <c:v>42778</c:v>
                </c:pt>
                <c:pt idx="1094">
                  <c:v>42779</c:v>
                </c:pt>
                <c:pt idx="1095">
                  <c:v>42780</c:v>
                </c:pt>
                <c:pt idx="1096">
                  <c:v>42781</c:v>
                </c:pt>
                <c:pt idx="1097">
                  <c:v>42782</c:v>
                </c:pt>
                <c:pt idx="1098">
                  <c:v>42783</c:v>
                </c:pt>
                <c:pt idx="1099">
                  <c:v>42785</c:v>
                </c:pt>
                <c:pt idx="1100">
                  <c:v>42786</c:v>
                </c:pt>
                <c:pt idx="1101">
                  <c:v>42787</c:v>
                </c:pt>
                <c:pt idx="1102">
                  <c:v>42788</c:v>
                </c:pt>
                <c:pt idx="1103">
                  <c:v>42789</c:v>
                </c:pt>
                <c:pt idx="1104">
                  <c:v>42790</c:v>
                </c:pt>
                <c:pt idx="1105">
                  <c:v>42792</c:v>
                </c:pt>
                <c:pt idx="1106">
                  <c:v>42793</c:v>
                </c:pt>
                <c:pt idx="1107">
                  <c:v>42794</c:v>
                </c:pt>
                <c:pt idx="1108">
                  <c:v>42795</c:v>
                </c:pt>
                <c:pt idx="1109">
                  <c:v>42796</c:v>
                </c:pt>
                <c:pt idx="1110">
                  <c:v>42797</c:v>
                </c:pt>
                <c:pt idx="1111">
                  <c:v>42799</c:v>
                </c:pt>
                <c:pt idx="1112">
                  <c:v>42800</c:v>
                </c:pt>
                <c:pt idx="1113">
                  <c:v>42801</c:v>
                </c:pt>
                <c:pt idx="1114">
                  <c:v>42802</c:v>
                </c:pt>
                <c:pt idx="1115">
                  <c:v>42803</c:v>
                </c:pt>
                <c:pt idx="1116">
                  <c:v>42804</c:v>
                </c:pt>
                <c:pt idx="1117">
                  <c:v>42806</c:v>
                </c:pt>
                <c:pt idx="1118">
                  <c:v>42807</c:v>
                </c:pt>
                <c:pt idx="1119">
                  <c:v>42808</c:v>
                </c:pt>
                <c:pt idx="1120">
                  <c:v>42809</c:v>
                </c:pt>
                <c:pt idx="1121">
                  <c:v>42810</c:v>
                </c:pt>
                <c:pt idx="1122">
                  <c:v>42811</c:v>
                </c:pt>
                <c:pt idx="1123">
                  <c:v>42813</c:v>
                </c:pt>
                <c:pt idx="1124">
                  <c:v>42814</c:v>
                </c:pt>
                <c:pt idx="1125">
                  <c:v>42815</c:v>
                </c:pt>
                <c:pt idx="1126">
                  <c:v>42816</c:v>
                </c:pt>
                <c:pt idx="1127">
                  <c:v>42817</c:v>
                </c:pt>
                <c:pt idx="1128">
                  <c:v>42818</c:v>
                </c:pt>
                <c:pt idx="1129">
                  <c:v>42820</c:v>
                </c:pt>
                <c:pt idx="1130">
                  <c:v>42821</c:v>
                </c:pt>
                <c:pt idx="1131">
                  <c:v>42822</c:v>
                </c:pt>
                <c:pt idx="1132">
                  <c:v>42823</c:v>
                </c:pt>
                <c:pt idx="1133">
                  <c:v>42824</c:v>
                </c:pt>
                <c:pt idx="1134">
                  <c:v>42825</c:v>
                </c:pt>
                <c:pt idx="1135">
                  <c:v>42829</c:v>
                </c:pt>
                <c:pt idx="1136">
                  <c:v>42830</c:v>
                </c:pt>
                <c:pt idx="1137">
                  <c:v>42831</c:v>
                </c:pt>
                <c:pt idx="1138">
                  <c:v>42832</c:v>
                </c:pt>
                <c:pt idx="1139">
                  <c:v>42834</c:v>
                </c:pt>
                <c:pt idx="1140">
                  <c:v>42835</c:v>
                </c:pt>
                <c:pt idx="1141">
                  <c:v>42836</c:v>
                </c:pt>
                <c:pt idx="1142">
                  <c:v>42837</c:v>
                </c:pt>
                <c:pt idx="1143">
                  <c:v>42838</c:v>
                </c:pt>
                <c:pt idx="1144">
                  <c:v>42839</c:v>
                </c:pt>
                <c:pt idx="1145">
                  <c:v>42841</c:v>
                </c:pt>
                <c:pt idx="1146">
                  <c:v>42842</c:v>
                </c:pt>
                <c:pt idx="1147">
                  <c:v>42843</c:v>
                </c:pt>
                <c:pt idx="1148">
                  <c:v>42844</c:v>
                </c:pt>
                <c:pt idx="1149">
                  <c:v>42845</c:v>
                </c:pt>
                <c:pt idx="1150">
                  <c:v>42846</c:v>
                </c:pt>
                <c:pt idx="1151">
                  <c:v>42848</c:v>
                </c:pt>
                <c:pt idx="1152">
                  <c:v>42849</c:v>
                </c:pt>
                <c:pt idx="1153">
                  <c:v>42850</c:v>
                </c:pt>
                <c:pt idx="1154">
                  <c:v>42851</c:v>
                </c:pt>
                <c:pt idx="1155">
                  <c:v>42852</c:v>
                </c:pt>
                <c:pt idx="1156">
                  <c:v>42853</c:v>
                </c:pt>
                <c:pt idx="1157">
                  <c:v>42856</c:v>
                </c:pt>
                <c:pt idx="1158">
                  <c:v>42857</c:v>
                </c:pt>
                <c:pt idx="1159">
                  <c:v>42858</c:v>
                </c:pt>
                <c:pt idx="1160">
                  <c:v>42859</c:v>
                </c:pt>
                <c:pt idx="1161">
                  <c:v>42860</c:v>
                </c:pt>
                <c:pt idx="1162">
                  <c:v>42862</c:v>
                </c:pt>
                <c:pt idx="1163">
                  <c:v>42863</c:v>
                </c:pt>
                <c:pt idx="1164">
                  <c:v>42864</c:v>
                </c:pt>
                <c:pt idx="1165">
                  <c:v>42865</c:v>
                </c:pt>
                <c:pt idx="1166">
                  <c:v>42866</c:v>
                </c:pt>
                <c:pt idx="1167">
                  <c:v>42867</c:v>
                </c:pt>
                <c:pt idx="1168">
                  <c:v>42869</c:v>
                </c:pt>
                <c:pt idx="1169">
                  <c:v>42870</c:v>
                </c:pt>
                <c:pt idx="1170">
                  <c:v>42871</c:v>
                </c:pt>
                <c:pt idx="1171">
                  <c:v>42872</c:v>
                </c:pt>
                <c:pt idx="1172">
                  <c:v>42873</c:v>
                </c:pt>
                <c:pt idx="1173">
                  <c:v>42874</c:v>
                </c:pt>
                <c:pt idx="1174">
                  <c:v>42876</c:v>
                </c:pt>
                <c:pt idx="1175">
                  <c:v>42877</c:v>
                </c:pt>
                <c:pt idx="1176">
                  <c:v>42878</c:v>
                </c:pt>
                <c:pt idx="1177">
                  <c:v>42879</c:v>
                </c:pt>
                <c:pt idx="1178">
                  <c:v>42880</c:v>
                </c:pt>
                <c:pt idx="1179">
                  <c:v>42881</c:v>
                </c:pt>
                <c:pt idx="1180">
                  <c:v>42885</c:v>
                </c:pt>
                <c:pt idx="1181">
                  <c:v>42886</c:v>
                </c:pt>
                <c:pt idx="1182">
                  <c:v>42887</c:v>
                </c:pt>
                <c:pt idx="1183">
                  <c:v>42888</c:v>
                </c:pt>
                <c:pt idx="1184">
                  <c:v>42890</c:v>
                </c:pt>
                <c:pt idx="1185">
                  <c:v>42891</c:v>
                </c:pt>
                <c:pt idx="1186">
                  <c:v>42892</c:v>
                </c:pt>
                <c:pt idx="1187">
                  <c:v>42893</c:v>
                </c:pt>
                <c:pt idx="1188">
                  <c:v>42894</c:v>
                </c:pt>
                <c:pt idx="1189">
                  <c:v>42895</c:v>
                </c:pt>
                <c:pt idx="1190">
                  <c:v>42897</c:v>
                </c:pt>
                <c:pt idx="1191">
                  <c:v>42898</c:v>
                </c:pt>
                <c:pt idx="1192">
                  <c:v>42899</c:v>
                </c:pt>
                <c:pt idx="1193">
                  <c:v>42900</c:v>
                </c:pt>
                <c:pt idx="1194">
                  <c:v>42901</c:v>
                </c:pt>
                <c:pt idx="1195">
                  <c:v>42902</c:v>
                </c:pt>
                <c:pt idx="1196">
                  <c:v>42904</c:v>
                </c:pt>
                <c:pt idx="1197">
                  <c:v>42905</c:v>
                </c:pt>
                <c:pt idx="1198">
                  <c:v>42906</c:v>
                </c:pt>
                <c:pt idx="1199">
                  <c:v>42907</c:v>
                </c:pt>
                <c:pt idx="1200">
                  <c:v>42908</c:v>
                </c:pt>
                <c:pt idx="1201">
                  <c:v>42909</c:v>
                </c:pt>
                <c:pt idx="1202">
                  <c:v>42911</c:v>
                </c:pt>
                <c:pt idx="1203">
                  <c:v>42912</c:v>
                </c:pt>
                <c:pt idx="1204">
                  <c:v>42913</c:v>
                </c:pt>
                <c:pt idx="1205">
                  <c:v>42914</c:v>
                </c:pt>
                <c:pt idx="1206">
                  <c:v>42915</c:v>
                </c:pt>
                <c:pt idx="1207">
                  <c:v>42916</c:v>
                </c:pt>
                <c:pt idx="1208">
                  <c:v>42918</c:v>
                </c:pt>
                <c:pt idx="1209">
                  <c:v>42919</c:v>
                </c:pt>
                <c:pt idx="1210">
                  <c:v>42920</c:v>
                </c:pt>
                <c:pt idx="1211">
                  <c:v>42921</c:v>
                </c:pt>
                <c:pt idx="1212">
                  <c:v>42922</c:v>
                </c:pt>
                <c:pt idx="1213">
                  <c:v>42923</c:v>
                </c:pt>
                <c:pt idx="1214">
                  <c:v>42925</c:v>
                </c:pt>
                <c:pt idx="1215">
                  <c:v>42926</c:v>
                </c:pt>
                <c:pt idx="1216">
                  <c:v>42927</c:v>
                </c:pt>
                <c:pt idx="1217">
                  <c:v>42928</c:v>
                </c:pt>
                <c:pt idx="1218">
                  <c:v>42929</c:v>
                </c:pt>
                <c:pt idx="1219">
                  <c:v>42930</c:v>
                </c:pt>
                <c:pt idx="1220">
                  <c:v>42932</c:v>
                </c:pt>
                <c:pt idx="1221">
                  <c:v>42933</c:v>
                </c:pt>
                <c:pt idx="1222">
                  <c:v>42934</c:v>
                </c:pt>
                <c:pt idx="1223">
                  <c:v>42935</c:v>
                </c:pt>
                <c:pt idx="1224">
                  <c:v>42936</c:v>
                </c:pt>
                <c:pt idx="1225">
                  <c:v>42937</c:v>
                </c:pt>
                <c:pt idx="1226">
                  <c:v>42939</c:v>
                </c:pt>
                <c:pt idx="1227">
                  <c:v>42940</c:v>
                </c:pt>
                <c:pt idx="1228">
                  <c:v>42941</c:v>
                </c:pt>
                <c:pt idx="1229">
                  <c:v>42942</c:v>
                </c:pt>
                <c:pt idx="1230">
                  <c:v>42943</c:v>
                </c:pt>
                <c:pt idx="1231">
                  <c:v>42944</c:v>
                </c:pt>
                <c:pt idx="1232">
                  <c:v>42946</c:v>
                </c:pt>
                <c:pt idx="1233">
                  <c:v>42947</c:v>
                </c:pt>
                <c:pt idx="1234">
                  <c:v>42948</c:v>
                </c:pt>
                <c:pt idx="1235">
                  <c:v>42949</c:v>
                </c:pt>
                <c:pt idx="1236">
                  <c:v>42950</c:v>
                </c:pt>
                <c:pt idx="1237">
                  <c:v>42951</c:v>
                </c:pt>
                <c:pt idx="1238">
                  <c:v>42953</c:v>
                </c:pt>
                <c:pt idx="1239">
                  <c:v>42954</c:v>
                </c:pt>
                <c:pt idx="1240">
                  <c:v>42955</c:v>
                </c:pt>
                <c:pt idx="1241">
                  <c:v>42956</c:v>
                </c:pt>
                <c:pt idx="1242">
                  <c:v>42957</c:v>
                </c:pt>
                <c:pt idx="1243">
                  <c:v>42958</c:v>
                </c:pt>
                <c:pt idx="1244">
                  <c:v>42960</c:v>
                </c:pt>
                <c:pt idx="1245">
                  <c:v>42961</c:v>
                </c:pt>
                <c:pt idx="1246">
                  <c:v>42962</c:v>
                </c:pt>
                <c:pt idx="1247">
                  <c:v>42963</c:v>
                </c:pt>
                <c:pt idx="1248">
                  <c:v>42964</c:v>
                </c:pt>
                <c:pt idx="1249">
                  <c:v>42965</c:v>
                </c:pt>
                <c:pt idx="1250">
                  <c:v>42967</c:v>
                </c:pt>
                <c:pt idx="1251">
                  <c:v>42968</c:v>
                </c:pt>
                <c:pt idx="1252">
                  <c:v>42969</c:v>
                </c:pt>
                <c:pt idx="1253">
                  <c:v>42970</c:v>
                </c:pt>
                <c:pt idx="1254">
                  <c:v>42971</c:v>
                </c:pt>
                <c:pt idx="1255">
                  <c:v>42972</c:v>
                </c:pt>
                <c:pt idx="1256">
                  <c:v>42974</c:v>
                </c:pt>
                <c:pt idx="1257">
                  <c:v>42975</c:v>
                </c:pt>
                <c:pt idx="1258">
                  <c:v>42976</c:v>
                </c:pt>
                <c:pt idx="1259">
                  <c:v>42977</c:v>
                </c:pt>
                <c:pt idx="1260">
                  <c:v>42978</c:v>
                </c:pt>
                <c:pt idx="1261">
                  <c:v>42979</c:v>
                </c:pt>
                <c:pt idx="1262">
                  <c:v>42981</c:v>
                </c:pt>
                <c:pt idx="1263">
                  <c:v>42982</c:v>
                </c:pt>
                <c:pt idx="1264">
                  <c:v>42983</c:v>
                </c:pt>
                <c:pt idx="1265">
                  <c:v>42984</c:v>
                </c:pt>
                <c:pt idx="1266">
                  <c:v>42985</c:v>
                </c:pt>
                <c:pt idx="1267">
                  <c:v>42986</c:v>
                </c:pt>
                <c:pt idx="1268">
                  <c:v>42988</c:v>
                </c:pt>
                <c:pt idx="1269">
                  <c:v>42989</c:v>
                </c:pt>
                <c:pt idx="1270">
                  <c:v>42990</c:v>
                </c:pt>
                <c:pt idx="1271">
                  <c:v>42991</c:v>
                </c:pt>
                <c:pt idx="1272">
                  <c:v>42992</c:v>
                </c:pt>
                <c:pt idx="1273">
                  <c:v>42993</c:v>
                </c:pt>
                <c:pt idx="1274">
                  <c:v>42995</c:v>
                </c:pt>
                <c:pt idx="1275">
                  <c:v>42996</c:v>
                </c:pt>
                <c:pt idx="1276">
                  <c:v>42997</c:v>
                </c:pt>
                <c:pt idx="1277">
                  <c:v>42998</c:v>
                </c:pt>
                <c:pt idx="1278">
                  <c:v>42999</c:v>
                </c:pt>
                <c:pt idx="1279">
                  <c:v>43000</c:v>
                </c:pt>
                <c:pt idx="1280">
                  <c:v>43002</c:v>
                </c:pt>
                <c:pt idx="1281">
                  <c:v>43003</c:v>
                </c:pt>
                <c:pt idx="1282">
                  <c:v>43004</c:v>
                </c:pt>
                <c:pt idx="1283">
                  <c:v>43005</c:v>
                </c:pt>
                <c:pt idx="1284">
                  <c:v>43006</c:v>
                </c:pt>
                <c:pt idx="1285">
                  <c:v>43007</c:v>
                </c:pt>
                <c:pt idx="1286">
                  <c:v>43016</c:v>
                </c:pt>
                <c:pt idx="1287">
                  <c:v>43017</c:v>
                </c:pt>
                <c:pt idx="1288">
                  <c:v>43018</c:v>
                </c:pt>
                <c:pt idx="1289">
                  <c:v>43019</c:v>
                </c:pt>
                <c:pt idx="1290">
                  <c:v>43020</c:v>
                </c:pt>
                <c:pt idx="1291">
                  <c:v>43021</c:v>
                </c:pt>
                <c:pt idx="1292">
                  <c:v>43023</c:v>
                </c:pt>
                <c:pt idx="1293">
                  <c:v>43024</c:v>
                </c:pt>
                <c:pt idx="1294">
                  <c:v>43025</c:v>
                </c:pt>
                <c:pt idx="1295">
                  <c:v>43026</c:v>
                </c:pt>
                <c:pt idx="1296">
                  <c:v>43027</c:v>
                </c:pt>
                <c:pt idx="1297">
                  <c:v>43028</c:v>
                </c:pt>
                <c:pt idx="1298">
                  <c:v>43030</c:v>
                </c:pt>
                <c:pt idx="1299">
                  <c:v>43031</c:v>
                </c:pt>
                <c:pt idx="1300">
                  <c:v>43032</c:v>
                </c:pt>
                <c:pt idx="1301">
                  <c:v>43033</c:v>
                </c:pt>
                <c:pt idx="1302">
                  <c:v>43034</c:v>
                </c:pt>
                <c:pt idx="1303">
                  <c:v>43035</c:v>
                </c:pt>
                <c:pt idx="1304">
                  <c:v>43037</c:v>
                </c:pt>
                <c:pt idx="1305">
                  <c:v>43038</c:v>
                </c:pt>
                <c:pt idx="1306">
                  <c:v>43039</c:v>
                </c:pt>
                <c:pt idx="1307">
                  <c:v>43040</c:v>
                </c:pt>
                <c:pt idx="1308">
                  <c:v>43041</c:v>
                </c:pt>
                <c:pt idx="1309">
                  <c:v>43042</c:v>
                </c:pt>
                <c:pt idx="1310">
                  <c:v>43044</c:v>
                </c:pt>
                <c:pt idx="1311">
                  <c:v>43045</c:v>
                </c:pt>
                <c:pt idx="1312">
                  <c:v>43046</c:v>
                </c:pt>
                <c:pt idx="1313">
                  <c:v>43047</c:v>
                </c:pt>
                <c:pt idx="1314">
                  <c:v>43048</c:v>
                </c:pt>
                <c:pt idx="1315">
                  <c:v>43049</c:v>
                </c:pt>
                <c:pt idx="1316">
                  <c:v>43051</c:v>
                </c:pt>
                <c:pt idx="1317">
                  <c:v>43052</c:v>
                </c:pt>
                <c:pt idx="1318">
                  <c:v>43053</c:v>
                </c:pt>
                <c:pt idx="1319">
                  <c:v>43054</c:v>
                </c:pt>
                <c:pt idx="1320">
                  <c:v>43055</c:v>
                </c:pt>
                <c:pt idx="1321">
                  <c:v>43056</c:v>
                </c:pt>
                <c:pt idx="1322">
                  <c:v>43058</c:v>
                </c:pt>
                <c:pt idx="1323">
                  <c:v>43059</c:v>
                </c:pt>
                <c:pt idx="1324">
                  <c:v>43060</c:v>
                </c:pt>
                <c:pt idx="1325">
                  <c:v>43061</c:v>
                </c:pt>
                <c:pt idx="1326">
                  <c:v>43062</c:v>
                </c:pt>
                <c:pt idx="1327">
                  <c:v>43063</c:v>
                </c:pt>
                <c:pt idx="1328">
                  <c:v>43065</c:v>
                </c:pt>
                <c:pt idx="1329">
                  <c:v>43066</c:v>
                </c:pt>
                <c:pt idx="1330">
                  <c:v>43067</c:v>
                </c:pt>
                <c:pt idx="1331">
                  <c:v>43068</c:v>
                </c:pt>
                <c:pt idx="1332">
                  <c:v>43069</c:v>
                </c:pt>
                <c:pt idx="1333">
                  <c:v>43070</c:v>
                </c:pt>
                <c:pt idx="1334">
                  <c:v>43072</c:v>
                </c:pt>
                <c:pt idx="1335">
                  <c:v>43073</c:v>
                </c:pt>
                <c:pt idx="1336">
                  <c:v>43074</c:v>
                </c:pt>
                <c:pt idx="1337">
                  <c:v>43075</c:v>
                </c:pt>
                <c:pt idx="1338">
                  <c:v>43076</c:v>
                </c:pt>
                <c:pt idx="1339">
                  <c:v>43077</c:v>
                </c:pt>
                <c:pt idx="1340">
                  <c:v>43079</c:v>
                </c:pt>
                <c:pt idx="1341">
                  <c:v>43080</c:v>
                </c:pt>
                <c:pt idx="1342">
                  <c:v>43081</c:v>
                </c:pt>
                <c:pt idx="1343">
                  <c:v>43082</c:v>
                </c:pt>
                <c:pt idx="1344">
                  <c:v>43083</c:v>
                </c:pt>
                <c:pt idx="1345">
                  <c:v>43084</c:v>
                </c:pt>
                <c:pt idx="1346">
                  <c:v>43086</c:v>
                </c:pt>
                <c:pt idx="1347">
                  <c:v>43087</c:v>
                </c:pt>
                <c:pt idx="1348">
                  <c:v>43088</c:v>
                </c:pt>
                <c:pt idx="1349">
                  <c:v>43089</c:v>
                </c:pt>
                <c:pt idx="1350">
                  <c:v>43090</c:v>
                </c:pt>
                <c:pt idx="1351">
                  <c:v>43091</c:v>
                </c:pt>
                <c:pt idx="1352">
                  <c:v>43093</c:v>
                </c:pt>
                <c:pt idx="1353">
                  <c:v>43094</c:v>
                </c:pt>
                <c:pt idx="1354">
                  <c:v>43095</c:v>
                </c:pt>
                <c:pt idx="1355">
                  <c:v>43096</c:v>
                </c:pt>
                <c:pt idx="1356">
                  <c:v>43097</c:v>
                </c:pt>
                <c:pt idx="1357">
                  <c:v>43098</c:v>
                </c:pt>
                <c:pt idx="1358">
                  <c:v>43100</c:v>
                </c:pt>
                <c:pt idx="1359">
                  <c:v>43101</c:v>
                </c:pt>
                <c:pt idx="1360">
                  <c:v>43102</c:v>
                </c:pt>
                <c:pt idx="1361">
                  <c:v>43103</c:v>
                </c:pt>
                <c:pt idx="1362">
                  <c:v>43104</c:v>
                </c:pt>
                <c:pt idx="1363">
                  <c:v>43105</c:v>
                </c:pt>
                <c:pt idx="1364">
                  <c:v>43107</c:v>
                </c:pt>
                <c:pt idx="1365">
                  <c:v>43108</c:v>
                </c:pt>
                <c:pt idx="1366">
                  <c:v>43109</c:v>
                </c:pt>
                <c:pt idx="1367">
                  <c:v>43110</c:v>
                </c:pt>
                <c:pt idx="1368">
                  <c:v>43111</c:v>
                </c:pt>
                <c:pt idx="1369">
                  <c:v>43112</c:v>
                </c:pt>
                <c:pt idx="1370">
                  <c:v>43114</c:v>
                </c:pt>
                <c:pt idx="1371">
                  <c:v>43115</c:v>
                </c:pt>
                <c:pt idx="1372">
                  <c:v>43116</c:v>
                </c:pt>
                <c:pt idx="1373">
                  <c:v>43117</c:v>
                </c:pt>
                <c:pt idx="1374">
                  <c:v>43118</c:v>
                </c:pt>
                <c:pt idx="1375">
                  <c:v>43119</c:v>
                </c:pt>
                <c:pt idx="1376">
                  <c:v>43121</c:v>
                </c:pt>
                <c:pt idx="1377">
                  <c:v>43122</c:v>
                </c:pt>
                <c:pt idx="1378">
                  <c:v>43123</c:v>
                </c:pt>
                <c:pt idx="1379">
                  <c:v>43124</c:v>
                </c:pt>
                <c:pt idx="1380">
                  <c:v>43125</c:v>
                </c:pt>
                <c:pt idx="1381">
                  <c:v>43126</c:v>
                </c:pt>
                <c:pt idx="1382">
                  <c:v>43128</c:v>
                </c:pt>
                <c:pt idx="1383">
                  <c:v>43129</c:v>
                </c:pt>
                <c:pt idx="1384">
                  <c:v>43130</c:v>
                </c:pt>
                <c:pt idx="1385">
                  <c:v>43131</c:v>
                </c:pt>
                <c:pt idx="1386">
                  <c:v>43132</c:v>
                </c:pt>
                <c:pt idx="1387">
                  <c:v>43133</c:v>
                </c:pt>
                <c:pt idx="1388">
                  <c:v>43135</c:v>
                </c:pt>
                <c:pt idx="1389">
                  <c:v>43136</c:v>
                </c:pt>
                <c:pt idx="1390">
                  <c:v>43137</c:v>
                </c:pt>
                <c:pt idx="1391">
                  <c:v>43138</c:v>
                </c:pt>
                <c:pt idx="1392">
                  <c:v>43139</c:v>
                </c:pt>
                <c:pt idx="1393">
                  <c:v>43140</c:v>
                </c:pt>
                <c:pt idx="1394">
                  <c:v>43142</c:v>
                </c:pt>
                <c:pt idx="1395">
                  <c:v>43143</c:v>
                </c:pt>
                <c:pt idx="1396">
                  <c:v>43144</c:v>
                </c:pt>
                <c:pt idx="1397">
                  <c:v>43145</c:v>
                </c:pt>
                <c:pt idx="1398">
                  <c:v>43152</c:v>
                </c:pt>
                <c:pt idx="1399">
                  <c:v>43153</c:v>
                </c:pt>
                <c:pt idx="1400">
                  <c:v>43154</c:v>
                </c:pt>
                <c:pt idx="1401">
                  <c:v>43156</c:v>
                </c:pt>
                <c:pt idx="1402">
                  <c:v>43157</c:v>
                </c:pt>
                <c:pt idx="1403">
                  <c:v>43158</c:v>
                </c:pt>
                <c:pt idx="1404">
                  <c:v>43159</c:v>
                </c:pt>
                <c:pt idx="1405">
                  <c:v>43160</c:v>
                </c:pt>
                <c:pt idx="1406">
                  <c:v>43161</c:v>
                </c:pt>
                <c:pt idx="1407">
                  <c:v>43163</c:v>
                </c:pt>
                <c:pt idx="1408">
                  <c:v>43164</c:v>
                </c:pt>
                <c:pt idx="1409">
                  <c:v>43165</c:v>
                </c:pt>
                <c:pt idx="1410">
                  <c:v>43166</c:v>
                </c:pt>
                <c:pt idx="1411">
                  <c:v>43167</c:v>
                </c:pt>
                <c:pt idx="1412">
                  <c:v>43168</c:v>
                </c:pt>
                <c:pt idx="1413">
                  <c:v>43170</c:v>
                </c:pt>
                <c:pt idx="1414">
                  <c:v>43171</c:v>
                </c:pt>
                <c:pt idx="1415">
                  <c:v>43172</c:v>
                </c:pt>
                <c:pt idx="1416">
                  <c:v>43173</c:v>
                </c:pt>
                <c:pt idx="1417">
                  <c:v>43174</c:v>
                </c:pt>
                <c:pt idx="1418">
                  <c:v>43175</c:v>
                </c:pt>
                <c:pt idx="1419">
                  <c:v>43177</c:v>
                </c:pt>
                <c:pt idx="1420">
                  <c:v>43178</c:v>
                </c:pt>
                <c:pt idx="1421">
                  <c:v>43179</c:v>
                </c:pt>
                <c:pt idx="1422">
                  <c:v>43180</c:v>
                </c:pt>
                <c:pt idx="1423">
                  <c:v>43181</c:v>
                </c:pt>
                <c:pt idx="1424">
                  <c:v>43182</c:v>
                </c:pt>
                <c:pt idx="1425">
                  <c:v>43184</c:v>
                </c:pt>
                <c:pt idx="1426">
                  <c:v>43185</c:v>
                </c:pt>
                <c:pt idx="1427">
                  <c:v>43186</c:v>
                </c:pt>
                <c:pt idx="1428">
                  <c:v>43187</c:v>
                </c:pt>
                <c:pt idx="1429">
                  <c:v>43188</c:v>
                </c:pt>
                <c:pt idx="1430">
                  <c:v>43189</c:v>
                </c:pt>
                <c:pt idx="1431">
                  <c:v>43191</c:v>
                </c:pt>
                <c:pt idx="1432">
                  <c:v>43192</c:v>
                </c:pt>
                <c:pt idx="1433">
                  <c:v>43193</c:v>
                </c:pt>
                <c:pt idx="1434">
                  <c:v>43194</c:v>
                </c:pt>
                <c:pt idx="1435">
                  <c:v>43198</c:v>
                </c:pt>
                <c:pt idx="1436">
                  <c:v>43199</c:v>
                </c:pt>
                <c:pt idx="1437">
                  <c:v>43200</c:v>
                </c:pt>
                <c:pt idx="1438">
                  <c:v>43201</c:v>
                </c:pt>
                <c:pt idx="1439">
                  <c:v>43202</c:v>
                </c:pt>
                <c:pt idx="1440">
                  <c:v>43203</c:v>
                </c:pt>
                <c:pt idx="1441">
                  <c:v>43205</c:v>
                </c:pt>
                <c:pt idx="1442">
                  <c:v>43206</c:v>
                </c:pt>
                <c:pt idx="1443">
                  <c:v>43207</c:v>
                </c:pt>
                <c:pt idx="1444">
                  <c:v>43208</c:v>
                </c:pt>
                <c:pt idx="1445">
                  <c:v>43209</c:v>
                </c:pt>
                <c:pt idx="1446">
                  <c:v>43210</c:v>
                </c:pt>
                <c:pt idx="1447">
                  <c:v>43212</c:v>
                </c:pt>
                <c:pt idx="1448">
                  <c:v>43213</c:v>
                </c:pt>
                <c:pt idx="1449">
                  <c:v>43214</c:v>
                </c:pt>
                <c:pt idx="1450">
                  <c:v>43215</c:v>
                </c:pt>
                <c:pt idx="1451">
                  <c:v>43216</c:v>
                </c:pt>
                <c:pt idx="1452">
                  <c:v>43217</c:v>
                </c:pt>
                <c:pt idx="1453">
                  <c:v>43221</c:v>
                </c:pt>
                <c:pt idx="1454">
                  <c:v>43222</c:v>
                </c:pt>
                <c:pt idx="1455">
                  <c:v>43223</c:v>
                </c:pt>
                <c:pt idx="1456">
                  <c:v>43224</c:v>
                </c:pt>
                <c:pt idx="1457">
                  <c:v>43226</c:v>
                </c:pt>
                <c:pt idx="1458">
                  <c:v>43227</c:v>
                </c:pt>
                <c:pt idx="1459">
                  <c:v>43228</c:v>
                </c:pt>
                <c:pt idx="1460">
                  <c:v>43229</c:v>
                </c:pt>
                <c:pt idx="1461">
                  <c:v>43230</c:v>
                </c:pt>
                <c:pt idx="1462">
                  <c:v>43231</c:v>
                </c:pt>
                <c:pt idx="1463">
                  <c:v>43233</c:v>
                </c:pt>
                <c:pt idx="1464">
                  <c:v>43234</c:v>
                </c:pt>
                <c:pt idx="1465">
                  <c:v>43235</c:v>
                </c:pt>
                <c:pt idx="1466">
                  <c:v>43236</c:v>
                </c:pt>
                <c:pt idx="1467">
                  <c:v>43237</c:v>
                </c:pt>
                <c:pt idx="1468">
                  <c:v>43238</c:v>
                </c:pt>
                <c:pt idx="1469">
                  <c:v>43240</c:v>
                </c:pt>
                <c:pt idx="1470">
                  <c:v>43241</c:v>
                </c:pt>
                <c:pt idx="1471">
                  <c:v>43242</c:v>
                </c:pt>
                <c:pt idx="1472">
                  <c:v>43243</c:v>
                </c:pt>
                <c:pt idx="1473">
                  <c:v>43244</c:v>
                </c:pt>
                <c:pt idx="1474">
                  <c:v>43245</c:v>
                </c:pt>
                <c:pt idx="1475">
                  <c:v>43247</c:v>
                </c:pt>
                <c:pt idx="1476">
                  <c:v>43248</c:v>
                </c:pt>
                <c:pt idx="1477">
                  <c:v>43249</c:v>
                </c:pt>
                <c:pt idx="1478">
                  <c:v>43250</c:v>
                </c:pt>
                <c:pt idx="1479">
                  <c:v>43251</c:v>
                </c:pt>
                <c:pt idx="1480">
                  <c:v>43252</c:v>
                </c:pt>
                <c:pt idx="1481">
                  <c:v>43254</c:v>
                </c:pt>
                <c:pt idx="1482">
                  <c:v>43255</c:v>
                </c:pt>
                <c:pt idx="1483">
                  <c:v>43256</c:v>
                </c:pt>
                <c:pt idx="1484">
                  <c:v>43257</c:v>
                </c:pt>
                <c:pt idx="1485">
                  <c:v>43258</c:v>
                </c:pt>
                <c:pt idx="1486">
                  <c:v>43259</c:v>
                </c:pt>
                <c:pt idx="1487">
                  <c:v>43261</c:v>
                </c:pt>
                <c:pt idx="1488">
                  <c:v>43262</c:v>
                </c:pt>
                <c:pt idx="1489">
                  <c:v>43263</c:v>
                </c:pt>
                <c:pt idx="1490">
                  <c:v>43264</c:v>
                </c:pt>
                <c:pt idx="1491">
                  <c:v>43265</c:v>
                </c:pt>
                <c:pt idx="1492">
                  <c:v>43266</c:v>
                </c:pt>
                <c:pt idx="1493">
                  <c:v>43269</c:v>
                </c:pt>
                <c:pt idx="1494">
                  <c:v>43270</c:v>
                </c:pt>
                <c:pt idx="1495">
                  <c:v>43271</c:v>
                </c:pt>
                <c:pt idx="1496">
                  <c:v>43272</c:v>
                </c:pt>
                <c:pt idx="1497">
                  <c:v>43273</c:v>
                </c:pt>
                <c:pt idx="1498">
                  <c:v>43275</c:v>
                </c:pt>
                <c:pt idx="1499">
                  <c:v>43276</c:v>
                </c:pt>
                <c:pt idx="1500">
                  <c:v>43277</c:v>
                </c:pt>
                <c:pt idx="1501">
                  <c:v>43278</c:v>
                </c:pt>
                <c:pt idx="1502">
                  <c:v>43279</c:v>
                </c:pt>
                <c:pt idx="1503">
                  <c:v>43280</c:v>
                </c:pt>
                <c:pt idx="1504">
                  <c:v>43281</c:v>
                </c:pt>
                <c:pt idx="1505">
                  <c:v>43282</c:v>
                </c:pt>
                <c:pt idx="1506">
                  <c:v>43283</c:v>
                </c:pt>
                <c:pt idx="1507">
                  <c:v>43284</c:v>
                </c:pt>
                <c:pt idx="1508">
                  <c:v>43285</c:v>
                </c:pt>
                <c:pt idx="1509">
                  <c:v>43286</c:v>
                </c:pt>
                <c:pt idx="1510">
                  <c:v>43287</c:v>
                </c:pt>
                <c:pt idx="1511">
                  <c:v>43289</c:v>
                </c:pt>
                <c:pt idx="1512">
                  <c:v>43290</c:v>
                </c:pt>
                <c:pt idx="1513">
                  <c:v>43291</c:v>
                </c:pt>
                <c:pt idx="1514">
                  <c:v>43292</c:v>
                </c:pt>
                <c:pt idx="1515">
                  <c:v>43293</c:v>
                </c:pt>
                <c:pt idx="1516">
                  <c:v>43294</c:v>
                </c:pt>
                <c:pt idx="1517">
                  <c:v>43296</c:v>
                </c:pt>
                <c:pt idx="1518">
                  <c:v>43297</c:v>
                </c:pt>
                <c:pt idx="1519">
                  <c:v>43298</c:v>
                </c:pt>
                <c:pt idx="1520">
                  <c:v>43299</c:v>
                </c:pt>
                <c:pt idx="1521">
                  <c:v>43300</c:v>
                </c:pt>
                <c:pt idx="1522">
                  <c:v>43301</c:v>
                </c:pt>
                <c:pt idx="1523">
                  <c:v>43303</c:v>
                </c:pt>
                <c:pt idx="1524">
                  <c:v>43304</c:v>
                </c:pt>
                <c:pt idx="1525">
                  <c:v>43305</c:v>
                </c:pt>
                <c:pt idx="1526">
                  <c:v>43306</c:v>
                </c:pt>
                <c:pt idx="1527">
                  <c:v>43307</c:v>
                </c:pt>
                <c:pt idx="1528">
                  <c:v>43308</c:v>
                </c:pt>
                <c:pt idx="1529">
                  <c:v>43310</c:v>
                </c:pt>
                <c:pt idx="1530">
                  <c:v>43311</c:v>
                </c:pt>
                <c:pt idx="1531">
                  <c:v>43312</c:v>
                </c:pt>
                <c:pt idx="1532">
                  <c:v>43313</c:v>
                </c:pt>
                <c:pt idx="1533">
                  <c:v>43314</c:v>
                </c:pt>
                <c:pt idx="1534">
                  <c:v>43315</c:v>
                </c:pt>
                <c:pt idx="1535">
                  <c:v>43317</c:v>
                </c:pt>
                <c:pt idx="1536">
                  <c:v>43318</c:v>
                </c:pt>
                <c:pt idx="1537">
                  <c:v>43319</c:v>
                </c:pt>
                <c:pt idx="1538">
                  <c:v>43320</c:v>
                </c:pt>
                <c:pt idx="1539">
                  <c:v>43321</c:v>
                </c:pt>
                <c:pt idx="1540">
                  <c:v>43322</c:v>
                </c:pt>
                <c:pt idx="1541">
                  <c:v>43324</c:v>
                </c:pt>
                <c:pt idx="1542">
                  <c:v>43325</c:v>
                </c:pt>
                <c:pt idx="1543">
                  <c:v>43326</c:v>
                </c:pt>
                <c:pt idx="1544">
                  <c:v>43327</c:v>
                </c:pt>
                <c:pt idx="1545">
                  <c:v>43328</c:v>
                </c:pt>
                <c:pt idx="1546">
                  <c:v>43329</c:v>
                </c:pt>
                <c:pt idx="1547">
                  <c:v>43331</c:v>
                </c:pt>
                <c:pt idx="1548">
                  <c:v>43332</c:v>
                </c:pt>
                <c:pt idx="1549">
                  <c:v>43333</c:v>
                </c:pt>
                <c:pt idx="1550">
                  <c:v>43334</c:v>
                </c:pt>
                <c:pt idx="1551">
                  <c:v>43335</c:v>
                </c:pt>
                <c:pt idx="1552">
                  <c:v>43336</c:v>
                </c:pt>
                <c:pt idx="1553">
                  <c:v>43338</c:v>
                </c:pt>
                <c:pt idx="1554">
                  <c:v>43339</c:v>
                </c:pt>
                <c:pt idx="1555">
                  <c:v>43340</c:v>
                </c:pt>
                <c:pt idx="1556">
                  <c:v>43341</c:v>
                </c:pt>
                <c:pt idx="1557">
                  <c:v>43342</c:v>
                </c:pt>
                <c:pt idx="1558">
                  <c:v>43343</c:v>
                </c:pt>
                <c:pt idx="1559">
                  <c:v>43345</c:v>
                </c:pt>
                <c:pt idx="1560">
                  <c:v>43346</c:v>
                </c:pt>
                <c:pt idx="1561">
                  <c:v>43347</c:v>
                </c:pt>
                <c:pt idx="1562">
                  <c:v>43348</c:v>
                </c:pt>
                <c:pt idx="1563">
                  <c:v>43349</c:v>
                </c:pt>
                <c:pt idx="1564">
                  <c:v>43350</c:v>
                </c:pt>
                <c:pt idx="1565">
                  <c:v>43352</c:v>
                </c:pt>
                <c:pt idx="1566">
                  <c:v>43353</c:v>
                </c:pt>
                <c:pt idx="1567">
                  <c:v>43354</c:v>
                </c:pt>
                <c:pt idx="1568">
                  <c:v>43355</c:v>
                </c:pt>
                <c:pt idx="1569">
                  <c:v>43356</c:v>
                </c:pt>
                <c:pt idx="1570">
                  <c:v>43357</c:v>
                </c:pt>
                <c:pt idx="1571">
                  <c:v>43359</c:v>
                </c:pt>
                <c:pt idx="1572">
                  <c:v>43360</c:v>
                </c:pt>
                <c:pt idx="1573">
                  <c:v>43361</c:v>
                </c:pt>
                <c:pt idx="1574">
                  <c:v>43362</c:v>
                </c:pt>
                <c:pt idx="1575">
                  <c:v>43363</c:v>
                </c:pt>
                <c:pt idx="1576">
                  <c:v>43364</c:v>
                </c:pt>
                <c:pt idx="1577">
                  <c:v>43367</c:v>
                </c:pt>
                <c:pt idx="1578">
                  <c:v>43368</c:v>
                </c:pt>
                <c:pt idx="1579">
                  <c:v>43369</c:v>
                </c:pt>
                <c:pt idx="1580">
                  <c:v>43370</c:v>
                </c:pt>
                <c:pt idx="1581">
                  <c:v>43371</c:v>
                </c:pt>
                <c:pt idx="1582">
                  <c:v>43380</c:v>
                </c:pt>
                <c:pt idx="1583">
                  <c:v>43381</c:v>
                </c:pt>
                <c:pt idx="1584">
                  <c:v>43382</c:v>
                </c:pt>
                <c:pt idx="1585">
                  <c:v>43383</c:v>
                </c:pt>
                <c:pt idx="1586">
                  <c:v>43384</c:v>
                </c:pt>
                <c:pt idx="1587">
                  <c:v>43385</c:v>
                </c:pt>
                <c:pt idx="1588">
                  <c:v>43387</c:v>
                </c:pt>
                <c:pt idx="1589">
                  <c:v>43388</c:v>
                </c:pt>
                <c:pt idx="1590">
                  <c:v>43389</c:v>
                </c:pt>
                <c:pt idx="1591">
                  <c:v>43390</c:v>
                </c:pt>
                <c:pt idx="1592">
                  <c:v>43391</c:v>
                </c:pt>
                <c:pt idx="1593">
                  <c:v>43392</c:v>
                </c:pt>
                <c:pt idx="1594">
                  <c:v>43394</c:v>
                </c:pt>
                <c:pt idx="1595">
                  <c:v>43395</c:v>
                </c:pt>
                <c:pt idx="1596">
                  <c:v>43396</c:v>
                </c:pt>
                <c:pt idx="1597">
                  <c:v>43397</c:v>
                </c:pt>
                <c:pt idx="1598">
                  <c:v>43398</c:v>
                </c:pt>
                <c:pt idx="1599">
                  <c:v>43399</c:v>
                </c:pt>
                <c:pt idx="1600">
                  <c:v>43401</c:v>
                </c:pt>
                <c:pt idx="1601">
                  <c:v>43402</c:v>
                </c:pt>
                <c:pt idx="1602">
                  <c:v>43403</c:v>
                </c:pt>
                <c:pt idx="1603">
                  <c:v>43404</c:v>
                </c:pt>
                <c:pt idx="1604">
                  <c:v>43405</c:v>
                </c:pt>
                <c:pt idx="1605">
                  <c:v>43406</c:v>
                </c:pt>
                <c:pt idx="1606">
                  <c:v>43408</c:v>
                </c:pt>
                <c:pt idx="1607">
                  <c:v>43409</c:v>
                </c:pt>
                <c:pt idx="1608">
                  <c:v>43410</c:v>
                </c:pt>
                <c:pt idx="1609">
                  <c:v>43411</c:v>
                </c:pt>
                <c:pt idx="1610">
                  <c:v>43412</c:v>
                </c:pt>
                <c:pt idx="1611">
                  <c:v>43413</c:v>
                </c:pt>
                <c:pt idx="1612">
                  <c:v>43415</c:v>
                </c:pt>
                <c:pt idx="1613">
                  <c:v>43416</c:v>
                </c:pt>
                <c:pt idx="1614">
                  <c:v>43417</c:v>
                </c:pt>
                <c:pt idx="1615">
                  <c:v>43418</c:v>
                </c:pt>
                <c:pt idx="1616">
                  <c:v>43419</c:v>
                </c:pt>
                <c:pt idx="1617">
                  <c:v>43420</c:v>
                </c:pt>
                <c:pt idx="1618">
                  <c:v>43422</c:v>
                </c:pt>
                <c:pt idx="1619">
                  <c:v>43423</c:v>
                </c:pt>
                <c:pt idx="1620">
                  <c:v>43424</c:v>
                </c:pt>
                <c:pt idx="1621">
                  <c:v>43425</c:v>
                </c:pt>
                <c:pt idx="1622">
                  <c:v>43426</c:v>
                </c:pt>
                <c:pt idx="1623">
                  <c:v>43427</c:v>
                </c:pt>
                <c:pt idx="1624">
                  <c:v>43429</c:v>
                </c:pt>
                <c:pt idx="1625">
                  <c:v>43430</c:v>
                </c:pt>
                <c:pt idx="1626">
                  <c:v>43431</c:v>
                </c:pt>
                <c:pt idx="1627">
                  <c:v>43432</c:v>
                </c:pt>
                <c:pt idx="1628">
                  <c:v>43433</c:v>
                </c:pt>
                <c:pt idx="1629">
                  <c:v>43434</c:v>
                </c:pt>
                <c:pt idx="1630">
                  <c:v>43436</c:v>
                </c:pt>
                <c:pt idx="1631">
                  <c:v>43437</c:v>
                </c:pt>
                <c:pt idx="1632">
                  <c:v>43438</c:v>
                </c:pt>
                <c:pt idx="1633">
                  <c:v>43439</c:v>
                </c:pt>
                <c:pt idx="1634">
                  <c:v>43440</c:v>
                </c:pt>
                <c:pt idx="1635">
                  <c:v>43441</c:v>
                </c:pt>
                <c:pt idx="1636">
                  <c:v>43443</c:v>
                </c:pt>
                <c:pt idx="1637">
                  <c:v>43444</c:v>
                </c:pt>
                <c:pt idx="1638">
                  <c:v>43445</c:v>
                </c:pt>
                <c:pt idx="1639">
                  <c:v>43446</c:v>
                </c:pt>
                <c:pt idx="1640">
                  <c:v>43447</c:v>
                </c:pt>
                <c:pt idx="1641">
                  <c:v>43448</c:v>
                </c:pt>
                <c:pt idx="1642">
                  <c:v>43450</c:v>
                </c:pt>
                <c:pt idx="1643">
                  <c:v>43451</c:v>
                </c:pt>
                <c:pt idx="1644">
                  <c:v>43452</c:v>
                </c:pt>
                <c:pt idx="1645">
                  <c:v>43453</c:v>
                </c:pt>
                <c:pt idx="1646">
                  <c:v>43454</c:v>
                </c:pt>
                <c:pt idx="1647">
                  <c:v>43455</c:v>
                </c:pt>
                <c:pt idx="1648">
                  <c:v>43457</c:v>
                </c:pt>
                <c:pt idx="1649">
                  <c:v>43458</c:v>
                </c:pt>
                <c:pt idx="1650">
                  <c:v>43459</c:v>
                </c:pt>
                <c:pt idx="1651">
                  <c:v>43460</c:v>
                </c:pt>
                <c:pt idx="1652">
                  <c:v>43461</c:v>
                </c:pt>
                <c:pt idx="1653">
                  <c:v>43462</c:v>
                </c:pt>
                <c:pt idx="1654">
                  <c:v>43465</c:v>
                </c:pt>
                <c:pt idx="1655">
                  <c:v>43466</c:v>
                </c:pt>
                <c:pt idx="1656">
                  <c:v>43467</c:v>
                </c:pt>
                <c:pt idx="1657">
                  <c:v>43468</c:v>
                </c:pt>
                <c:pt idx="1658">
                  <c:v>43469</c:v>
                </c:pt>
                <c:pt idx="1659">
                  <c:v>43471</c:v>
                </c:pt>
                <c:pt idx="1660">
                  <c:v>43472</c:v>
                </c:pt>
                <c:pt idx="1661">
                  <c:v>43473</c:v>
                </c:pt>
                <c:pt idx="1662">
                  <c:v>43474</c:v>
                </c:pt>
                <c:pt idx="1663">
                  <c:v>43475</c:v>
                </c:pt>
                <c:pt idx="1664">
                  <c:v>43476</c:v>
                </c:pt>
                <c:pt idx="1665">
                  <c:v>43478</c:v>
                </c:pt>
                <c:pt idx="1666">
                  <c:v>43479</c:v>
                </c:pt>
                <c:pt idx="1667">
                  <c:v>43480</c:v>
                </c:pt>
                <c:pt idx="1668">
                  <c:v>43481</c:v>
                </c:pt>
                <c:pt idx="1669">
                  <c:v>43482</c:v>
                </c:pt>
                <c:pt idx="1670">
                  <c:v>43483</c:v>
                </c:pt>
                <c:pt idx="1671">
                  <c:v>43485</c:v>
                </c:pt>
                <c:pt idx="1672">
                  <c:v>43486</c:v>
                </c:pt>
                <c:pt idx="1673">
                  <c:v>43487</c:v>
                </c:pt>
                <c:pt idx="1674">
                  <c:v>43488</c:v>
                </c:pt>
                <c:pt idx="1675">
                  <c:v>43489</c:v>
                </c:pt>
                <c:pt idx="1676">
                  <c:v>43490</c:v>
                </c:pt>
                <c:pt idx="1677">
                  <c:v>43492</c:v>
                </c:pt>
                <c:pt idx="1678">
                  <c:v>43493</c:v>
                </c:pt>
                <c:pt idx="1679">
                  <c:v>43494</c:v>
                </c:pt>
                <c:pt idx="1680">
                  <c:v>43495</c:v>
                </c:pt>
                <c:pt idx="1681">
                  <c:v>43496</c:v>
                </c:pt>
                <c:pt idx="1682">
                  <c:v>43497</c:v>
                </c:pt>
                <c:pt idx="1683">
                  <c:v>43506</c:v>
                </c:pt>
                <c:pt idx="1684">
                  <c:v>43507</c:v>
                </c:pt>
                <c:pt idx="1685">
                  <c:v>43508</c:v>
                </c:pt>
                <c:pt idx="1686">
                  <c:v>43509</c:v>
                </c:pt>
                <c:pt idx="1687">
                  <c:v>43510</c:v>
                </c:pt>
                <c:pt idx="1688">
                  <c:v>43511</c:v>
                </c:pt>
                <c:pt idx="1689">
                  <c:v>43513</c:v>
                </c:pt>
                <c:pt idx="1690">
                  <c:v>43514</c:v>
                </c:pt>
                <c:pt idx="1691">
                  <c:v>43515</c:v>
                </c:pt>
                <c:pt idx="1692">
                  <c:v>43516</c:v>
                </c:pt>
                <c:pt idx="1693">
                  <c:v>43517</c:v>
                </c:pt>
                <c:pt idx="1694">
                  <c:v>43518</c:v>
                </c:pt>
                <c:pt idx="1695">
                  <c:v>43520</c:v>
                </c:pt>
                <c:pt idx="1696">
                  <c:v>43521</c:v>
                </c:pt>
                <c:pt idx="1697">
                  <c:v>43522</c:v>
                </c:pt>
                <c:pt idx="1698">
                  <c:v>43523</c:v>
                </c:pt>
                <c:pt idx="1699">
                  <c:v>43524</c:v>
                </c:pt>
                <c:pt idx="1700">
                  <c:v>43525</c:v>
                </c:pt>
                <c:pt idx="1701">
                  <c:v>43527</c:v>
                </c:pt>
                <c:pt idx="1702">
                  <c:v>43528</c:v>
                </c:pt>
                <c:pt idx="1703">
                  <c:v>43529</c:v>
                </c:pt>
                <c:pt idx="1704">
                  <c:v>43530</c:v>
                </c:pt>
                <c:pt idx="1705">
                  <c:v>43531</c:v>
                </c:pt>
                <c:pt idx="1706">
                  <c:v>43532</c:v>
                </c:pt>
                <c:pt idx="1707">
                  <c:v>43534</c:v>
                </c:pt>
                <c:pt idx="1708">
                  <c:v>43535</c:v>
                </c:pt>
                <c:pt idx="1709">
                  <c:v>43536</c:v>
                </c:pt>
                <c:pt idx="1710">
                  <c:v>43537</c:v>
                </c:pt>
                <c:pt idx="1711">
                  <c:v>43538</c:v>
                </c:pt>
                <c:pt idx="1712">
                  <c:v>43539</c:v>
                </c:pt>
                <c:pt idx="1713">
                  <c:v>43541</c:v>
                </c:pt>
                <c:pt idx="1714">
                  <c:v>43542</c:v>
                </c:pt>
                <c:pt idx="1715">
                  <c:v>43543</c:v>
                </c:pt>
                <c:pt idx="1716">
                  <c:v>43544</c:v>
                </c:pt>
                <c:pt idx="1717">
                  <c:v>43545</c:v>
                </c:pt>
                <c:pt idx="1718">
                  <c:v>43546</c:v>
                </c:pt>
                <c:pt idx="1719">
                  <c:v>43548</c:v>
                </c:pt>
                <c:pt idx="1720">
                  <c:v>43549</c:v>
                </c:pt>
                <c:pt idx="1721">
                  <c:v>43550</c:v>
                </c:pt>
                <c:pt idx="1722">
                  <c:v>43551</c:v>
                </c:pt>
                <c:pt idx="1723">
                  <c:v>43552</c:v>
                </c:pt>
                <c:pt idx="1724">
                  <c:v>43553</c:v>
                </c:pt>
                <c:pt idx="1725">
                  <c:v>43555</c:v>
                </c:pt>
                <c:pt idx="1726">
                  <c:v>43556</c:v>
                </c:pt>
                <c:pt idx="1727">
                  <c:v>43557</c:v>
                </c:pt>
                <c:pt idx="1728">
                  <c:v>43558</c:v>
                </c:pt>
                <c:pt idx="1729">
                  <c:v>43559</c:v>
                </c:pt>
                <c:pt idx="1730">
                  <c:v>43562</c:v>
                </c:pt>
                <c:pt idx="1731">
                  <c:v>43563</c:v>
                </c:pt>
                <c:pt idx="1732">
                  <c:v>43564</c:v>
                </c:pt>
                <c:pt idx="1733">
                  <c:v>43565</c:v>
                </c:pt>
                <c:pt idx="1734">
                  <c:v>43566</c:v>
                </c:pt>
                <c:pt idx="1735">
                  <c:v>43567</c:v>
                </c:pt>
                <c:pt idx="1736">
                  <c:v>43569</c:v>
                </c:pt>
                <c:pt idx="1737">
                  <c:v>43570</c:v>
                </c:pt>
                <c:pt idx="1738">
                  <c:v>43571</c:v>
                </c:pt>
                <c:pt idx="1739">
                  <c:v>43572</c:v>
                </c:pt>
                <c:pt idx="1740">
                  <c:v>43573</c:v>
                </c:pt>
                <c:pt idx="1741">
                  <c:v>43574</c:v>
                </c:pt>
                <c:pt idx="1742">
                  <c:v>43576</c:v>
                </c:pt>
                <c:pt idx="1743">
                  <c:v>43577</c:v>
                </c:pt>
                <c:pt idx="1744">
                  <c:v>43578</c:v>
                </c:pt>
                <c:pt idx="1745">
                  <c:v>43579</c:v>
                </c:pt>
                <c:pt idx="1746">
                  <c:v>43580</c:v>
                </c:pt>
                <c:pt idx="1747">
                  <c:v>43581</c:v>
                </c:pt>
                <c:pt idx="1748">
                  <c:v>43583</c:v>
                </c:pt>
                <c:pt idx="1749">
                  <c:v>43584</c:v>
                </c:pt>
                <c:pt idx="1750">
                  <c:v>43585</c:v>
                </c:pt>
                <c:pt idx="1751">
                  <c:v>43590</c:v>
                </c:pt>
                <c:pt idx="1752">
                  <c:v>43591</c:v>
                </c:pt>
                <c:pt idx="1753">
                  <c:v>43592</c:v>
                </c:pt>
                <c:pt idx="1754">
                  <c:v>43593</c:v>
                </c:pt>
                <c:pt idx="1755">
                  <c:v>43594</c:v>
                </c:pt>
                <c:pt idx="1756">
                  <c:v>43595</c:v>
                </c:pt>
                <c:pt idx="1757">
                  <c:v>43597</c:v>
                </c:pt>
                <c:pt idx="1758">
                  <c:v>43598</c:v>
                </c:pt>
                <c:pt idx="1759">
                  <c:v>43599</c:v>
                </c:pt>
                <c:pt idx="1760">
                  <c:v>43600</c:v>
                </c:pt>
                <c:pt idx="1761">
                  <c:v>43601</c:v>
                </c:pt>
                <c:pt idx="1762">
                  <c:v>43602</c:v>
                </c:pt>
                <c:pt idx="1763">
                  <c:v>43604</c:v>
                </c:pt>
                <c:pt idx="1764">
                  <c:v>43605</c:v>
                </c:pt>
                <c:pt idx="1765">
                  <c:v>43606</c:v>
                </c:pt>
                <c:pt idx="1766">
                  <c:v>43607</c:v>
                </c:pt>
                <c:pt idx="1767">
                  <c:v>43608</c:v>
                </c:pt>
                <c:pt idx="1768">
                  <c:v>43609</c:v>
                </c:pt>
                <c:pt idx="1769">
                  <c:v>43611</c:v>
                </c:pt>
                <c:pt idx="1770">
                  <c:v>43612</c:v>
                </c:pt>
                <c:pt idx="1771">
                  <c:v>43613</c:v>
                </c:pt>
                <c:pt idx="1772">
                  <c:v>43614</c:v>
                </c:pt>
                <c:pt idx="1773">
                  <c:v>43615</c:v>
                </c:pt>
                <c:pt idx="1774">
                  <c:v>43616</c:v>
                </c:pt>
                <c:pt idx="1775">
                  <c:v>43618</c:v>
                </c:pt>
                <c:pt idx="1776">
                  <c:v>43619</c:v>
                </c:pt>
                <c:pt idx="1777">
                  <c:v>43620</c:v>
                </c:pt>
                <c:pt idx="1778">
                  <c:v>43621</c:v>
                </c:pt>
                <c:pt idx="1779">
                  <c:v>43622</c:v>
                </c:pt>
                <c:pt idx="1780">
                  <c:v>43625</c:v>
                </c:pt>
                <c:pt idx="1781">
                  <c:v>43626</c:v>
                </c:pt>
                <c:pt idx="1782">
                  <c:v>43627</c:v>
                </c:pt>
                <c:pt idx="1783">
                  <c:v>43628</c:v>
                </c:pt>
                <c:pt idx="1784">
                  <c:v>43629</c:v>
                </c:pt>
                <c:pt idx="1785">
                  <c:v>43630</c:v>
                </c:pt>
                <c:pt idx="1786">
                  <c:v>43632</c:v>
                </c:pt>
                <c:pt idx="1787">
                  <c:v>43633</c:v>
                </c:pt>
                <c:pt idx="1788">
                  <c:v>43634</c:v>
                </c:pt>
                <c:pt idx="1789">
                  <c:v>43635</c:v>
                </c:pt>
                <c:pt idx="1790">
                  <c:v>43636</c:v>
                </c:pt>
                <c:pt idx="1791">
                  <c:v>43637</c:v>
                </c:pt>
                <c:pt idx="1792">
                  <c:v>43639</c:v>
                </c:pt>
                <c:pt idx="1793">
                  <c:v>43640</c:v>
                </c:pt>
                <c:pt idx="1794">
                  <c:v>43641</c:v>
                </c:pt>
                <c:pt idx="1795">
                  <c:v>43642</c:v>
                </c:pt>
                <c:pt idx="1796">
                  <c:v>43643</c:v>
                </c:pt>
                <c:pt idx="1797">
                  <c:v>43644</c:v>
                </c:pt>
                <c:pt idx="1798">
                  <c:v>43646</c:v>
                </c:pt>
                <c:pt idx="1799">
                  <c:v>43647</c:v>
                </c:pt>
                <c:pt idx="1800">
                  <c:v>43648</c:v>
                </c:pt>
                <c:pt idx="1801">
                  <c:v>43649</c:v>
                </c:pt>
                <c:pt idx="1802">
                  <c:v>43650</c:v>
                </c:pt>
                <c:pt idx="1803">
                  <c:v>43651</c:v>
                </c:pt>
                <c:pt idx="1804">
                  <c:v>43653</c:v>
                </c:pt>
                <c:pt idx="1805">
                  <c:v>43654</c:v>
                </c:pt>
                <c:pt idx="1806">
                  <c:v>43655</c:v>
                </c:pt>
                <c:pt idx="1807">
                  <c:v>43656</c:v>
                </c:pt>
                <c:pt idx="1808">
                  <c:v>43657</c:v>
                </c:pt>
                <c:pt idx="1809">
                  <c:v>43658</c:v>
                </c:pt>
                <c:pt idx="1810">
                  <c:v>43660</c:v>
                </c:pt>
                <c:pt idx="1811">
                  <c:v>43661</c:v>
                </c:pt>
                <c:pt idx="1812">
                  <c:v>43662</c:v>
                </c:pt>
                <c:pt idx="1813">
                  <c:v>43663</c:v>
                </c:pt>
                <c:pt idx="1814">
                  <c:v>43664</c:v>
                </c:pt>
                <c:pt idx="1815">
                  <c:v>43665</c:v>
                </c:pt>
                <c:pt idx="1816">
                  <c:v>43667</c:v>
                </c:pt>
                <c:pt idx="1817">
                  <c:v>43668</c:v>
                </c:pt>
                <c:pt idx="1818">
                  <c:v>43669</c:v>
                </c:pt>
                <c:pt idx="1819">
                  <c:v>43670</c:v>
                </c:pt>
                <c:pt idx="1820">
                  <c:v>43671</c:v>
                </c:pt>
                <c:pt idx="1821">
                  <c:v>43672</c:v>
                </c:pt>
                <c:pt idx="1822">
                  <c:v>43674</c:v>
                </c:pt>
                <c:pt idx="1823">
                  <c:v>43675</c:v>
                </c:pt>
                <c:pt idx="1824">
                  <c:v>43676</c:v>
                </c:pt>
                <c:pt idx="1825">
                  <c:v>43677</c:v>
                </c:pt>
                <c:pt idx="1826">
                  <c:v>43678</c:v>
                </c:pt>
                <c:pt idx="1827">
                  <c:v>43679</c:v>
                </c:pt>
                <c:pt idx="1828">
                  <c:v>43681</c:v>
                </c:pt>
                <c:pt idx="1829">
                  <c:v>43682</c:v>
                </c:pt>
                <c:pt idx="1830">
                  <c:v>43683</c:v>
                </c:pt>
                <c:pt idx="1831">
                  <c:v>43684</c:v>
                </c:pt>
                <c:pt idx="1832">
                  <c:v>43685</c:v>
                </c:pt>
                <c:pt idx="1833">
                  <c:v>43686</c:v>
                </c:pt>
                <c:pt idx="1834">
                  <c:v>43688</c:v>
                </c:pt>
                <c:pt idx="1835">
                  <c:v>43689</c:v>
                </c:pt>
                <c:pt idx="1836">
                  <c:v>43690</c:v>
                </c:pt>
                <c:pt idx="1837">
                  <c:v>43691</c:v>
                </c:pt>
                <c:pt idx="1838">
                  <c:v>43692</c:v>
                </c:pt>
                <c:pt idx="1839">
                  <c:v>43693</c:v>
                </c:pt>
                <c:pt idx="1840">
                  <c:v>43695</c:v>
                </c:pt>
                <c:pt idx="1841">
                  <c:v>43696</c:v>
                </c:pt>
                <c:pt idx="1842">
                  <c:v>43697</c:v>
                </c:pt>
                <c:pt idx="1843">
                  <c:v>43698</c:v>
                </c:pt>
                <c:pt idx="1844">
                  <c:v>43699</c:v>
                </c:pt>
                <c:pt idx="1845">
                  <c:v>43700</c:v>
                </c:pt>
                <c:pt idx="1846">
                  <c:v>43702</c:v>
                </c:pt>
                <c:pt idx="1847">
                  <c:v>43703</c:v>
                </c:pt>
                <c:pt idx="1848">
                  <c:v>43704</c:v>
                </c:pt>
                <c:pt idx="1849">
                  <c:v>43705</c:v>
                </c:pt>
                <c:pt idx="1850">
                  <c:v>43706</c:v>
                </c:pt>
                <c:pt idx="1851">
                  <c:v>43707</c:v>
                </c:pt>
                <c:pt idx="1852">
                  <c:v>43709</c:v>
                </c:pt>
                <c:pt idx="1853">
                  <c:v>43710</c:v>
                </c:pt>
                <c:pt idx="1854">
                  <c:v>43711</c:v>
                </c:pt>
                <c:pt idx="1855">
                  <c:v>43712</c:v>
                </c:pt>
                <c:pt idx="1856">
                  <c:v>43713</c:v>
                </c:pt>
                <c:pt idx="1857">
                  <c:v>43714</c:v>
                </c:pt>
                <c:pt idx="1858">
                  <c:v>43716</c:v>
                </c:pt>
                <c:pt idx="1859">
                  <c:v>43717</c:v>
                </c:pt>
                <c:pt idx="1860">
                  <c:v>43718</c:v>
                </c:pt>
                <c:pt idx="1861">
                  <c:v>43719</c:v>
                </c:pt>
                <c:pt idx="1862">
                  <c:v>43720</c:v>
                </c:pt>
                <c:pt idx="1863">
                  <c:v>43723</c:v>
                </c:pt>
                <c:pt idx="1864">
                  <c:v>43724</c:v>
                </c:pt>
                <c:pt idx="1865">
                  <c:v>43725</c:v>
                </c:pt>
                <c:pt idx="1866">
                  <c:v>43726</c:v>
                </c:pt>
                <c:pt idx="1867">
                  <c:v>43727</c:v>
                </c:pt>
                <c:pt idx="1868">
                  <c:v>43728</c:v>
                </c:pt>
                <c:pt idx="1869">
                  <c:v>43730</c:v>
                </c:pt>
                <c:pt idx="1870">
                  <c:v>43731</c:v>
                </c:pt>
                <c:pt idx="1871">
                  <c:v>43732</c:v>
                </c:pt>
                <c:pt idx="1872">
                  <c:v>43733</c:v>
                </c:pt>
                <c:pt idx="1873">
                  <c:v>43734</c:v>
                </c:pt>
                <c:pt idx="1874">
                  <c:v>43735</c:v>
                </c:pt>
                <c:pt idx="1875">
                  <c:v>43737</c:v>
                </c:pt>
                <c:pt idx="1876">
                  <c:v>43738</c:v>
                </c:pt>
                <c:pt idx="1877">
                  <c:v>43745</c:v>
                </c:pt>
                <c:pt idx="1878">
                  <c:v>43746</c:v>
                </c:pt>
                <c:pt idx="1879">
                  <c:v>43747</c:v>
                </c:pt>
                <c:pt idx="1880">
                  <c:v>43748</c:v>
                </c:pt>
                <c:pt idx="1881">
                  <c:v>43749</c:v>
                </c:pt>
                <c:pt idx="1882">
                  <c:v>43751</c:v>
                </c:pt>
                <c:pt idx="1883">
                  <c:v>43752</c:v>
                </c:pt>
                <c:pt idx="1884">
                  <c:v>43753</c:v>
                </c:pt>
                <c:pt idx="1885">
                  <c:v>43754</c:v>
                </c:pt>
                <c:pt idx="1886">
                  <c:v>43755</c:v>
                </c:pt>
                <c:pt idx="1887">
                  <c:v>43756</c:v>
                </c:pt>
                <c:pt idx="1888">
                  <c:v>43758</c:v>
                </c:pt>
                <c:pt idx="1889">
                  <c:v>43759</c:v>
                </c:pt>
                <c:pt idx="1890">
                  <c:v>43760</c:v>
                </c:pt>
                <c:pt idx="1891">
                  <c:v>43761</c:v>
                </c:pt>
                <c:pt idx="1892">
                  <c:v>43762</c:v>
                </c:pt>
                <c:pt idx="1893">
                  <c:v>43763</c:v>
                </c:pt>
                <c:pt idx="1894">
                  <c:v>43765</c:v>
                </c:pt>
                <c:pt idx="1895">
                  <c:v>43766</c:v>
                </c:pt>
                <c:pt idx="1896">
                  <c:v>43767</c:v>
                </c:pt>
                <c:pt idx="1897">
                  <c:v>43768</c:v>
                </c:pt>
                <c:pt idx="1898">
                  <c:v>43769</c:v>
                </c:pt>
                <c:pt idx="1899">
                  <c:v>43770</c:v>
                </c:pt>
                <c:pt idx="1900">
                  <c:v>43772</c:v>
                </c:pt>
                <c:pt idx="1901">
                  <c:v>43773</c:v>
                </c:pt>
                <c:pt idx="1902">
                  <c:v>43774</c:v>
                </c:pt>
                <c:pt idx="1903">
                  <c:v>43775</c:v>
                </c:pt>
                <c:pt idx="1904">
                  <c:v>43776</c:v>
                </c:pt>
                <c:pt idx="1905">
                  <c:v>43777</c:v>
                </c:pt>
                <c:pt idx="1906">
                  <c:v>43779</c:v>
                </c:pt>
                <c:pt idx="1907">
                  <c:v>43780</c:v>
                </c:pt>
                <c:pt idx="1908">
                  <c:v>43781</c:v>
                </c:pt>
                <c:pt idx="1909">
                  <c:v>43782</c:v>
                </c:pt>
                <c:pt idx="1910">
                  <c:v>43783</c:v>
                </c:pt>
                <c:pt idx="1911">
                  <c:v>43784</c:v>
                </c:pt>
                <c:pt idx="1912">
                  <c:v>43786</c:v>
                </c:pt>
                <c:pt idx="1913">
                  <c:v>43787</c:v>
                </c:pt>
                <c:pt idx="1914">
                  <c:v>43788</c:v>
                </c:pt>
                <c:pt idx="1915">
                  <c:v>43789</c:v>
                </c:pt>
                <c:pt idx="1916">
                  <c:v>43790</c:v>
                </c:pt>
                <c:pt idx="1917">
                  <c:v>43791</c:v>
                </c:pt>
                <c:pt idx="1918">
                  <c:v>43793</c:v>
                </c:pt>
                <c:pt idx="1919">
                  <c:v>43794</c:v>
                </c:pt>
                <c:pt idx="1920">
                  <c:v>43795</c:v>
                </c:pt>
                <c:pt idx="1921">
                  <c:v>43796</c:v>
                </c:pt>
                <c:pt idx="1922">
                  <c:v>43797</c:v>
                </c:pt>
                <c:pt idx="1923">
                  <c:v>43798</c:v>
                </c:pt>
                <c:pt idx="1924">
                  <c:v>43800</c:v>
                </c:pt>
                <c:pt idx="1925">
                  <c:v>43801</c:v>
                </c:pt>
                <c:pt idx="1926">
                  <c:v>43802</c:v>
                </c:pt>
                <c:pt idx="1927">
                  <c:v>43803</c:v>
                </c:pt>
                <c:pt idx="1928">
                  <c:v>43804</c:v>
                </c:pt>
                <c:pt idx="1929">
                  <c:v>43805</c:v>
                </c:pt>
                <c:pt idx="1930">
                  <c:v>43807</c:v>
                </c:pt>
                <c:pt idx="1931">
                  <c:v>43808</c:v>
                </c:pt>
                <c:pt idx="1932">
                  <c:v>43809</c:v>
                </c:pt>
                <c:pt idx="1933">
                  <c:v>43810</c:v>
                </c:pt>
                <c:pt idx="1934">
                  <c:v>43811</c:v>
                </c:pt>
                <c:pt idx="1935">
                  <c:v>43812</c:v>
                </c:pt>
                <c:pt idx="1936">
                  <c:v>43814</c:v>
                </c:pt>
                <c:pt idx="1937">
                  <c:v>43815</c:v>
                </c:pt>
                <c:pt idx="1938">
                  <c:v>43816</c:v>
                </c:pt>
                <c:pt idx="1939">
                  <c:v>43817</c:v>
                </c:pt>
                <c:pt idx="1940">
                  <c:v>43818</c:v>
                </c:pt>
                <c:pt idx="1941">
                  <c:v>43819</c:v>
                </c:pt>
                <c:pt idx="1942">
                  <c:v>43821</c:v>
                </c:pt>
                <c:pt idx="1943">
                  <c:v>43822</c:v>
                </c:pt>
                <c:pt idx="1944">
                  <c:v>43823</c:v>
                </c:pt>
                <c:pt idx="1945">
                  <c:v>43824</c:v>
                </c:pt>
                <c:pt idx="1946">
                  <c:v>43825</c:v>
                </c:pt>
                <c:pt idx="1947">
                  <c:v>43826</c:v>
                </c:pt>
                <c:pt idx="1948">
                  <c:v>43828</c:v>
                </c:pt>
                <c:pt idx="1949">
                  <c:v>43830</c:v>
                </c:pt>
                <c:pt idx="1950">
                  <c:v>43831</c:v>
                </c:pt>
                <c:pt idx="1951">
                  <c:v>43832</c:v>
                </c:pt>
                <c:pt idx="1952">
                  <c:v>43833</c:v>
                </c:pt>
                <c:pt idx="1953">
                  <c:v>43835</c:v>
                </c:pt>
                <c:pt idx="1954">
                  <c:v>43836</c:v>
                </c:pt>
                <c:pt idx="1955">
                  <c:v>43837</c:v>
                </c:pt>
                <c:pt idx="1956">
                  <c:v>43838</c:v>
                </c:pt>
                <c:pt idx="1957">
                  <c:v>43839</c:v>
                </c:pt>
                <c:pt idx="1958">
                  <c:v>43840</c:v>
                </c:pt>
              </c:numCache>
            </c:numRef>
          </c:cat>
          <c:val>
            <c:numRef>
              <c:f>file!$J$2:$J$1962</c:f>
              <c:numCache>
                <c:formatCode>General</c:formatCode>
                <c:ptCount val="1961"/>
                <c:pt idx="0">
                  <c:v>3.39</c:v>
                </c:pt>
                <c:pt idx="1">
                  <c:v>#N/A</c:v>
                </c:pt>
                <c:pt idx="2">
                  <c:v>4.5990000000000002</c:v>
                </c:pt>
                <c:pt idx="3">
                  <c:v>4.5169999999999986</c:v>
                </c:pt>
                <c:pt idx="4">
                  <c:v>4.6229999999999993</c:v>
                </c:pt>
                <c:pt idx="5">
                  <c:v>5.9820000000000002</c:v>
                </c:pt>
                <c:pt idx="6">
                  <c:v>8.2939999999999987</c:v>
                </c:pt>
                <c:pt idx="7">
                  <c:v>#N/A</c:v>
                </c:pt>
                <c:pt idx="8">
                  <c:v>6.6909999999999989</c:v>
                </c:pt>
                <c:pt idx="9">
                  <c:v>6.968</c:v>
                </c:pt>
                <c:pt idx="10">
                  <c:v>#N/A</c:v>
                </c:pt>
                <c:pt idx="11">
                  <c:v>4.8129999999999988</c:v>
                </c:pt>
                <c:pt idx="12">
                  <c:v>5.5960000000000001</c:v>
                </c:pt>
                <c:pt idx="13">
                  <c:v>7.6599999999999993</c:v>
                </c:pt>
                <c:pt idx="14">
                  <c:v>13.444000000000001</c:v>
                </c:pt>
                <c:pt idx="15">
                  <c:v>8.4920000000000027</c:v>
                </c:pt>
                <c:pt idx="16">
                  <c:v>#N/A</c:v>
                </c:pt>
                <c:pt idx="17">
                  <c:v>6.4889999999999999</c:v>
                </c:pt>
                <c:pt idx="18">
                  <c:v>5.7359999999999998</c:v>
                </c:pt>
                <c:pt idx="19">
                  <c:v>5.552999999999999</c:v>
                </c:pt>
                <c:pt idx="20">
                  <c:v>5.5609999999999991</c:v>
                </c:pt>
                <c:pt idx="21">
                  <c:v>4.9409999999999998</c:v>
                </c:pt>
                <c:pt idx="22">
                  <c:v>#N/A</c:v>
                </c:pt>
                <c:pt idx="23">
                  <c:v>4.4560000000000004</c:v>
                </c:pt>
                <c:pt idx="24">
                  <c:v>3.786</c:v>
                </c:pt>
                <c:pt idx="25">
                  <c:v>3.4</c:v>
                </c:pt>
                <c:pt idx="26">
                  <c:v>3.3479999999999999</c:v>
                </c:pt>
                <c:pt idx="27">
                  <c:v>3.38</c:v>
                </c:pt>
                <c:pt idx="28">
                  <c:v>#N/A</c:v>
                </c:pt>
                <c:pt idx="29">
                  <c:v>3.2559999999999998</c:v>
                </c:pt>
                <c:pt idx="30">
                  <c:v>3.2490000000000001</c:v>
                </c:pt>
                <c:pt idx="31">
                  <c:v>3.2509999999999999</c:v>
                </c:pt>
                <c:pt idx="32">
                  <c:v>3.3546999999999989</c:v>
                </c:pt>
                <c:pt idx="33">
                  <c:v>3.3</c:v>
                </c:pt>
                <c:pt idx="34">
                  <c:v>#N/A</c:v>
                </c:pt>
                <c:pt idx="35">
                  <c:v>3.2997999999999998</c:v>
                </c:pt>
                <c:pt idx="36">
                  <c:v>3.012999999999999</c:v>
                </c:pt>
                <c:pt idx="37">
                  <c:v>2.968</c:v>
                </c:pt>
                <c:pt idx="38">
                  <c:v>2.9980000000000002</c:v>
                </c:pt>
                <c:pt idx="39">
                  <c:v>3.04</c:v>
                </c:pt>
                <c:pt idx="40">
                  <c:v>#N/A</c:v>
                </c:pt>
                <c:pt idx="41">
                  <c:v>3.1034999999999999</c:v>
                </c:pt>
                <c:pt idx="42">
                  <c:v>3.1355</c:v>
                </c:pt>
                <c:pt idx="43">
                  <c:v>3.23</c:v>
                </c:pt>
                <c:pt idx="44">
                  <c:v>3.349499999999999</c:v>
                </c:pt>
                <c:pt idx="45">
                  <c:v>3.55</c:v>
                </c:pt>
                <c:pt idx="46">
                  <c:v>#N/A</c:v>
                </c:pt>
                <c:pt idx="47">
                  <c:v>3.7029999999999998</c:v>
                </c:pt>
                <c:pt idx="48">
                  <c:v>3.641</c:v>
                </c:pt>
                <c:pt idx="49">
                  <c:v>3.6989999999999998</c:v>
                </c:pt>
                <c:pt idx="50">
                  <c:v>3.5489999999999999</c:v>
                </c:pt>
                <c:pt idx="51">
                  <c:v>3.2538999999999998</c:v>
                </c:pt>
                <c:pt idx="52">
                  <c:v>#N/A</c:v>
                </c:pt>
                <c:pt idx="53">
                  <c:v>3.1</c:v>
                </c:pt>
                <c:pt idx="54">
                  <c:v>3.1</c:v>
                </c:pt>
                <c:pt idx="55">
                  <c:v>3.1004999999999998</c:v>
                </c:pt>
                <c:pt idx="56">
                  <c:v>3.1640999999999999</c:v>
                </c:pt>
                <c:pt idx="57">
                  <c:v>2.9140000000000001</c:v>
                </c:pt>
                <c:pt idx="58">
                  <c:v>#N/A</c:v>
                </c:pt>
                <c:pt idx="59">
                  <c:v>2.9645000000000001</c:v>
                </c:pt>
                <c:pt idx="60">
                  <c:v>3.2252999999999998</c:v>
                </c:pt>
                <c:pt idx="61">
                  <c:v>3.4350000000000001</c:v>
                </c:pt>
                <c:pt idx="62">
                  <c:v>3.2829999999999999</c:v>
                </c:pt>
                <c:pt idx="63">
                  <c:v>3.2090000000000001</c:v>
                </c:pt>
                <c:pt idx="64">
                  <c:v>#N/A</c:v>
                </c:pt>
                <c:pt idx="65">
                  <c:v>3.403</c:v>
                </c:pt>
                <c:pt idx="66">
                  <c:v>3.8540000000000001</c:v>
                </c:pt>
                <c:pt idx="67">
                  <c:v>3.516999999999999</c:v>
                </c:pt>
                <c:pt idx="68">
                  <c:v>3.3570000000000002</c:v>
                </c:pt>
                <c:pt idx="69">
                  <c:v>3.2650000000000001</c:v>
                </c:pt>
                <c:pt idx="70">
                  <c:v>#N/A</c:v>
                </c:pt>
                <c:pt idx="71">
                  <c:v>3.036999999999999</c:v>
                </c:pt>
                <c:pt idx="72">
                  <c:v>3.0059999999999998</c:v>
                </c:pt>
                <c:pt idx="73">
                  <c:v>3.0979999999999999</c:v>
                </c:pt>
                <c:pt idx="74">
                  <c:v>2.956999999999999</c:v>
                </c:pt>
                <c:pt idx="75">
                  <c:v>3.0339999999999998</c:v>
                </c:pt>
                <c:pt idx="76">
                  <c:v>#N/A</c:v>
                </c:pt>
                <c:pt idx="77">
                  <c:v>3.0188000000000001</c:v>
                </c:pt>
                <c:pt idx="78">
                  <c:v>3.0005999999999999</c:v>
                </c:pt>
                <c:pt idx="79">
                  <c:v>3.0049999999999999</c:v>
                </c:pt>
                <c:pt idx="80">
                  <c:v>2.89</c:v>
                </c:pt>
                <c:pt idx="81">
                  <c:v>2.95</c:v>
                </c:pt>
                <c:pt idx="82">
                  <c:v>#N/A</c:v>
                </c:pt>
                <c:pt idx="83">
                  <c:v>2.92</c:v>
                </c:pt>
                <c:pt idx="84">
                  <c:v>2.8955000000000002</c:v>
                </c:pt>
                <c:pt idx="85">
                  <c:v>3.0139999999999998</c:v>
                </c:pt>
                <c:pt idx="86">
                  <c:v>2.9670000000000001</c:v>
                </c:pt>
                <c:pt idx="87">
                  <c:v>2.9790000000000001</c:v>
                </c:pt>
                <c:pt idx="88">
                  <c:v>#N/A</c:v>
                </c:pt>
                <c:pt idx="89">
                  <c:v>3.008</c:v>
                </c:pt>
                <c:pt idx="90">
                  <c:v>3.492999999999999</c:v>
                </c:pt>
                <c:pt idx="91">
                  <c:v>3.5569999999999991</c:v>
                </c:pt>
                <c:pt idx="92">
                  <c:v>3.573</c:v>
                </c:pt>
                <c:pt idx="93">
                  <c:v>3.8149999999999991</c:v>
                </c:pt>
                <c:pt idx="94">
                  <c:v>3.6143999999999998</c:v>
                </c:pt>
                <c:pt idx="95">
                  <c:v>3.347</c:v>
                </c:pt>
                <c:pt idx="96">
                  <c:v>3.1120000000000001</c:v>
                </c:pt>
                <c:pt idx="97">
                  <c:v>3.1476999999999999</c:v>
                </c:pt>
                <c:pt idx="98">
                  <c:v>3.15</c:v>
                </c:pt>
                <c:pt idx="99">
                  <c:v>3.1259999999999999</c:v>
                </c:pt>
                <c:pt idx="100">
                  <c:v>#N/A</c:v>
                </c:pt>
                <c:pt idx="101">
                  <c:v>3.052</c:v>
                </c:pt>
                <c:pt idx="102">
                  <c:v>3.2320000000000002</c:v>
                </c:pt>
                <c:pt idx="103">
                  <c:v>3.3279999999999998</c:v>
                </c:pt>
                <c:pt idx="104">
                  <c:v>3.1</c:v>
                </c:pt>
                <c:pt idx="105">
                  <c:v>#N/A</c:v>
                </c:pt>
                <c:pt idx="106">
                  <c:v>3.113</c:v>
                </c:pt>
                <c:pt idx="107">
                  <c:v>3.117</c:v>
                </c:pt>
                <c:pt idx="108">
                  <c:v>3.0550000000000002</c:v>
                </c:pt>
                <c:pt idx="109">
                  <c:v>3.0379999999999998</c:v>
                </c:pt>
                <c:pt idx="110">
                  <c:v>3.0009999999999999</c:v>
                </c:pt>
                <c:pt idx="111">
                  <c:v>#N/A</c:v>
                </c:pt>
                <c:pt idx="112">
                  <c:v>3.06</c:v>
                </c:pt>
                <c:pt idx="113">
                  <c:v>3.052</c:v>
                </c:pt>
                <c:pt idx="114">
                  <c:v>3.78</c:v>
                </c:pt>
                <c:pt idx="115">
                  <c:v>4.0880000000000001</c:v>
                </c:pt>
                <c:pt idx="116">
                  <c:v>4.3669999999999991</c:v>
                </c:pt>
                <c:pt idx="117">
                  <c:v>#N/A</c:v>
                </c:pt>
                <c:pt idx="118">
                  <c:v>4.4340000000000002</c:v>
                </c:pt>
                <c:pt idx="119">
                  <c:v>4.4459999999999997</c:v>
                </c:pt>
                <c:pt idx="120">
                  <c:v>5.23</c:v>
                </c:pt>
                <c:pt idx="121">
                  <c:v>4.59</c:v>
                </c:pt>
                <c:pt idx="122">
                  <c:v>4.2882999999999996</c:v>
                </c:pt>
                <c:pt idx="123">
                  <c:v>#N/A</c:v>
                </c:pt>
                <c:pt idx="124">
                  <c:v>4.0970999999999993</c:v>
                </c:pt>
                <c:pt idx="125">
                  <c:v>3.914699999999999</c:v>
                </c:pt>
                <c:pt idx="126">
                  <c:v>3.66</c:v>
                </c:pt>
                <c:pt idx="127">
                  <c:v>3.73</c:v>
                </c:pt>
                <c:pt idx="128">
                  <c:v>3.7610000000000001</c:v>
                </c:pt>
                <c:pt idx="129">
                  <c:v>#N/A</c:v>
                </c:pt>
                <c:pt idx="130">
                  <c:v>3.6</c:v>
                </c:pt>
                <c:pt idx="131">
                  <c:v>3.3290000000000002</c:v>
                </c:pt>
                <c:pt idx="132">
                  <c:v>3.335999999999999</c:v>
                </c:pt>
                <c:pt idx="133">
                  <c:v>4.1879999999999988</c:v>
                </c:pt>
                <c:pt idx="134">
                  <c:v>4.4539999999999997</c:v>
                </c:pt>
                <c:pt idx="135">
                  <c:v>#N/A</c:v>
                </c:pt>
                <c:pt idx="136">
                  <c:v>4.512999999999999</c:v>
                </c:pt>
                <c:pt idx="137">
                  <c:v>4.0750000000000002</c:v>
                </c:pt>
                <c:pt idx="138">
                  <c:v>4.0569999999999986</c:v>
                </c:pt>
                <c:pt idx="139">
                  <c:v>3.8889999999999998</c:v>
                </c:pt>
                <c:pt idx="140">
                  <c:v>3.899</c:v>
                </c:pt>
                <c:pt idx="141">
                  <c:v>#N/A</c:v>
                </c:pt>
                <c:pt idx="142">
                  <c:v>3.847</c:v>
                </c:pt>
                <c:pt idx="143">
                  <c:v>3.746</c:v>
                </c:pt>
                <c:pt idx="144">
                  <c:v>3.7639999999999998</c:v>
                </c:pt>
                <c:pt idx="145">
                  <c:v>3.746</c:v>
                </c:pt>
                <c:pt idx="146">
                  <c:v>3.726</c:v>
                </c:pt>
                <c:pt idx="147">
                  <c:v>#N/A</c:v>
                </c:pt>
                <c:pt idx="148">
                  <c:v>3.7480000000000002</c:v>
                </c:pt>
                <c:pt idx="149">
                  <c:v>3.7250000000000001</c:v>
                </c:pt>
                <c:pt idx="150">
                  <c:v>3.7235</c:v>
                </c:pt>
                <c:pt idx="151">
                  <c:v>3.7029999999999998</c:v>
                </c:pt>
                <c:pt idx="152">
                  <c:v>3.7</c:v>
                </c:pt>
                <c:pt idx="153">
                  <c:v>#N/A</c:v>
                </c:pt>
                <c:pt idx="154">
                  <c:v>3.62</c:v>
                </c:pt>
                <c:pt idx="155">
                  <c:v>3.5579999999999998</c:v>
                </c:pt>
                <c:pt idx="156">
                  <c:v>3.51</c:v>
                </c:pt>
                <c:pt idx="157">
                  <c:v>3.46</c:v>
                </c:pt>
                <c:pt idx="158">
                  <c:v>3.4321000000000002</c:v>
                </c:pt>
                <c:pt idx="159">
                  <c:v>#N/A</c:v>
                </c:pt>
                <c:pt idx="160">
                  <c:v>3.4470000000000001</c:v>
                </c:pt>
                <c:pt idx="161">
                  <c:v>3.47</c:v>
                </c:pt>
                <c:pt idx="162">
                  <c:v>3.5880000000000001</c:v>
                </c:pt>
                <c:pt idx="163">
                  <c:v>3.8460000000000001</c:v>
                </c:pt>
                <c:pt idx="164">
                  <c:v>3.927</c:v>
                </c:pt>
                <c:pt idx="165">
                  <c:v>#N/A</c:v>
                </c:pt>
                <c:pt idx="166">
                  <c:v>4.5149999999999988</c:v>
                </c:pt>
                <c:pt idx="167">
                  <c:v>4.1449999999999987</c:v>
                </c:pt>
                <c:pt idx="168">
                  <c:v>4.05</c:v>
                </c:pt>
                <c:pt idx="169">
                  <c:v>4.0010000000000003</c:v>
                </c:pt>
                <c:pt idx="170">
                  <c:v>3.512999999999999</c:v>
                </c:pt>
                <c:pt idx="171">
                  <c:v>#N/A</c:v>
                </c:pt>
                <c:pt idx="172">
                  <c:v>3.2050000000000001</c:v>
                </c:pt>
                <c:pt idx="173">
                  <c:v>3.1480000000000001</c:v>
                </c:pt>
                <c:pt idx="174">
                  <c:v>#N/A</c:v>
                </c:pt>
                <c:pt idx="175">
                  <c:v>3.1309999999999998</c:v>
                </c:pt>
                <c:pt idx="176">
                  <c:v>3.0059999999999998</c:v>
                </c:pt>
                <c:pt idx="177">
                  <c:v>#N/A</c:v>
                </c:pt>
                <c:pt idx="178">
                  <c:v>2.92</c:v>
                </c:pt>
                <c:pt idx="179">
                  <c:v>2.875</c:v>
                </c:pt>
                <c:pt idx="180">
                  <c:v>2.83</c:v>
                </c:pt>
                <c:pt idx="181">
                  <c:v>2.794</c:v>
                </c:pt>
                <c:pt idx="182">
                  <c:v>2.766</c:v>
                </c:pt>
                <c:pt idx="183">
                  <c:v>#N/A</c:v>
                </c:pt>
                <c:pt idx="184">
                  <c:v>2.738</c:v>
                </c:pt>
                <c:pt idx="185">
                  <c:v>2.7395</c:v>
                </c:pt>
                <c:pt idx="186">
                  <c:v>2.7513000000000001</c:v>
                </c:pt>
                <c:pt idx="187">
                  <c:v>2.7723</c:v>
                </c:pt>
                <c:pt idx="188">
                  <c:v>2.8170000000000002</c:v>
                </c:pt>
                <c:pt idx="189">
                  <c:v>#N/A</c:v>
                </c:pt>
                <c:pt idx="190">
                  <c:v>3.8879999999999999</c:v>
                </c:pt>
                <c:pt idx="191">
                  <c:v>3.641</c:v>
                </c:pt>
                <c:pt idx="192">
                  <c:v>3.6760000000000002</c:v>
                </c:pt>
                <c:pt idx="193">
                  <c:v>3.7</c:v>
                </c:pt>
                <c:pt idx="194">
                  <c:v>3.7193000000000001</c:v>
                </c:pt>
                <c:pt idx="195">
                  <c:v>4.4000000000000004</c:v>
                </c:pt>
                <c:pt idx="196">
                  <c:v>4.5339999999999998</c:v>
                </c:pt>
                <c:pt idx="197">
                  <c:v>4.8476999999999997</c:v>
                </c:pt>
                <c:pt idx="198">
                  <c:v>4.8</c:v>
                </c:pt>
                <c:pt idx="199">
                  <c:v>4.4349999999999996</c:v>
                </c:pt>
                <c:pt idx="200">
                  <c:v>#N/A</c:v>
                </c:pt>
                <c:pt idx="201">
                  <c:v>4.2699999999999996</c:v>
                </c:pt>
                <c:pt idx="202">
                  <c:v>#N/A</c:v>
                </c:pt>
                <c:pt idx="203">
                  <c:v>4.3034999999999997</c:v>
                </c:pt>
                <c:pt idx="204">
                  <c:v>4.1369999999999996</c:v>
                </c:pt>
                <c:pt idx="205">
                  <c:v>4.0750000000000002</c:v>
                </c:pt>
                <c:pt idx="206">
                  <c:v>3.669</c:v>
                </c:pt>
                <c:pt idx="207">
                  <c:v>3.278</c:v>
                </c:pt>
                <c:pt idx="208">
                  <c:v>#N/A</c:v>
                </c:pt>
                <c:pt idx="209">
                  <c:v>2.9510000000000001</c:v>
                </c:pt>
                <c:pt idx="210">
                  <c:v>2.68</c:v>
                </c:pt>
                <c:pt idx="211">
                  <c:v>2.403</c:v>
                </c:pt>
                <c:pt idx="212">
                  <c:v>1.9810000000000001</c:v>
                </c:pt>
                <c:pt idx="213">
                  <c:v>1.764</c:v>
                </c:pt>
                <c:pt idx="214">
                  <c:v>#N/A</c:v>
                </c:pt>
                <c:pt idx="215">
                  <c:v>1.7</c:v>
                </c:pt>
                <c:pt idx="216">
                  <c:v>1.72</c:v>
                </c:pt>
                <c:pt idx="217">
                  <c:v>1.75</c:v>
                </c:pt>
                <c:pt idx="218">
                  <c:v>1.75</c:v>
                </c:pt>
                <c:pt idx="219">
                  <c:v>1.8458000000000001</c:v>
                </c:pt>
                <c:pt idx="220">
                  <c:v>#N/A</c:v>
                </c:pt>
                <c:pt idx="221">
                  <c:v>2.085</c:v>
                </c:pt>
                <c:pt idx="222">
                  <c:v>2.0830000000000002</c:v>
                </c:pt>
                <c:pt idx="223">
                  <c:v>2.09</c:v>
                </c:pt>
                <c:pt idx="224">
                  <c:v>2.0547</c:v>
                </c:pt>
                <c:pt idx="225">
                  <c:v>1.9947999999999999</c:v>
                </c:pt>
                <c:pt idx="226">
                  <c:v>#N/A</c:v>
                </c:pt>
                <c:pt idx="227">
                  <c:v>1.919</c:v>
                </c:pt>
                <c:pt idx="228">
                  <c:v>1.873</c:v>
                </c:pt>
                <c:pt idx="229">
                  <c:v>1.9</c:v>
                </c:pt>
                <c:pt idx="230">
                  <c:v>1.96</c:v>
                </c:pt>
                <c:pt idx="231">
                  <c:v>1.8765000000000001</c:v>
                </c:pt>
                <c:pt idx="232">
                  <c:v>#N/A</c:v>
                </c:pt>
                <c:pt idx="233">
                  <c:v>1.869</c:v>
                </c:pt>
                <c:pt idx="234">
                  <c:v>2.0499999999999998</c:v>
                </c:pt>
                <c:pt idx="235">
                  <c:v>2.8025000000000002</c:v>
                </c:pt>
                <c:pt idx="236">
                  <c:v>3.0110000000000001</c:v>
                </c:pt>
                <c:pt idx="237">
                  <c:v>2.5</c:v>
                </c:pt>
                <c:pt idx="238">
                  <c:v>#N/A</c:v>
                </c:pt>
                <c:pt idx="239">
                  <c:v>2.5</c:v>
                </c:pt>
                <c:pt idx="240">
                  <c:v>2.5</c:v>
                </c:pt>
                <c:pt idx="241">
                  <c:v>2.52</c:v>
                </c:pt>
                <c:pt idx="242">
                  <c:v>2.6579999999999999</c:v>
                </c:pt>
                <c:pt idx="243">
                  <c:v>2.75</c:v>
                </c:pt>
                <c:pt idx="244">
                  <c:v>#N/A</c:v>
                </c:pt>
                <c:pt idx="245">
                  <c:v>2.8</c:v>
                </c:pt>
                <c:pt idx="246">
                  <c:v>2.8660000000000001</c:v>
                </c:pt>
                <c:pt idx="247">
                  <c:v>2.95</c:v>
                </c:pt>
                <c:pt idx="248">
                  <c:v>2.95</c:v>
                </c:pt>
                <c:pt idx="249">
                  <c:v>2.7629999999999999</c:v>
                </c:pt>
                <c:pt idx="250">
                  <c:v>#N/A</c:v>
                </c:pt>
                <c:pt idx="251">
                  <c:v>2.7130000000000001</c:v>
                </c:pt>
                <c:pt idx="252">
                  <c:v>2.74</c:v>
                </c:pt>
                <c:pt idx="253">
                  <c:v>2.74</c:v>
                </c:pt>
                <c:pt idx="254">
                  <c:v>2.75</c:v>
                </c:pt>
                <c:pt idx="255">
                  <c:v>#N/A</c:v>
                </c:pt>
                <c:pt idx="256">
                  <c:v>2.6389999999999998</c:v>
                </c:pt>
                <c:pt idx="257">
                  <c:v>2.4489999999999998</c:v>
                </c:pt>
                <c:pt idx="258">
                  <c:v>2.298</c:v>
                </c:pt>
                <c:pt idx="259">
                  <c:v>2.181</c:v>
                </c:pt>
                <c:pt idx="260">
                  <c:v>2</c:v>
                </c:pt>
                <c:pt idx="261">
                  <c:v>#N/A</c:v>
                </c:pt>
                <c:pt idx="262">
                  <c:v>1.98</c:v>
                </c:pt>
                <c:pt idx="263">
                  <c:v>1.9261999999999999</c:v>
                </c:pt>
                <c:pt idx="264">
                  <c:v>1.9630000000000001</c:v>
                </c:pt>
                <c:pt idx="265">
                  <c:v>2.302999999999999</c:v>
                </c:pt>
                <c:pt idx="266">
                  <c:v>2.31</c:v>
                </c:pt>
                <c:pt idx="267">
                  <c:v>#N/A</c:v>
                </c:pt>
                <c:pt idx="268">
                  <c:v>2.4060000000000001</c:v>
                </c:pt>
                <c:pt idx="269">
                  <c:v>2.6040000000000001</c:v>
                </c:pt>
                <c:pt idx="270">
                  <c:v>2.5</c:v>
                </c:pt>
                <c:pt idx="271">
                  <c:v>2.4</c:v>
                </c:pt>
                <c:pt idx="272">
                  <c:v>2.37</c:v>
                </c:pt>
                <c:pt idx="273">
                  <c:v>2.37</c:v>
                </c:pt>
                <c:pt idx="274">
                  <c:v>2.37</c:v>
                </c:pt>
                <c:pt idx="275">
                  <c:v>2.23</c:v>
                </c:pt>
                <c:pt idx="276">
                  <c:v>2.2204999999999999</c:v>
                </c:pt>
                <c:pt idx="277">
                  <c:v>#N/A</c:v>
                </c:pt>
                <c:pt idx="278">
                  <c:v>2.2134999999999998</c:v>
                </c:pt>
                <c:pt idx="279">
                  <c:v>2.35</c:v>
                </c:pt>
                <c:pt idx="280">
                  <c:v>2.3666</c:v>
                </c:pt>
                <c:pt idx="281">
                  <c:v>2.35</c:v>
                </c:pt>
                <c:pt idx="282">
                  <c:v>2.37</c:v>
                </c:pt>
                <c:pt idx="283">
                  <c:v>#N/A</c:v>
                </c:pt>
                <c:pt idx="284">
                  <c:v>2.395999999999999</c:v>
                </c:pt>
                <c:pt idx="285">
                  <c:v>2.427</c:v>
                </c:pt>
                <c:pt idx="286">
                  <c:v>2.528</c:v>
                </c:pt>
                <c:pt idx="287">
                  <c:v>2.5099999999999998</c:v>
                </c:pt>
                <c:pt idx="288">
                  <c:v>2.5299999999999998</c:v>
                </c:pt>
                <c:pt idx="289">
                  <c:v>#N/A</c:v>
                </c:pt>
                <c:pt idx="290">
                  <c:v>2.5024999999999999</c:v>
                </c:pt>
                <c:pt idx="291">
                  <c:v>2.5409999999999999</c:v>
                </c:pt>
                <c:pt idx="292">
                  <c:v>2.5099999999999998</c:v>
                </c:pt>
                <c:pt idx="293">
                  <c:v>2.5099999999999998</c:v>
                </c:pt>
                <c:pt idx="294">
                  <c:v>2.57</c:v>
                </c:pt>
                <c:pt idx="295">
                  <c:v>#N/A</c:v>
                </c:pt>
                <c:pt idx="296">
                  <c:v>2.5209999999999999</c:v>
                </c:pt>
                <c:pt idx="297">
                  <c:v>2.5609999999999999</c:v>
                </c:pt>
                <c:pt idx="298">
                  <c:v>2.5760000000000001</c:v>
                </c:pt>
                <c:pt idx="299">
                  <c:v>2.5808</c:v>
                </c:pt>
                <c:pt idx="300">
                  <c:v>#N/A</c:v>
                </c:pt>
                <c:pt idx="301">
                  <c:v>2.58</c:v>
                </c:pt>
                <c:pt idx="302">
                  <c:v>2.57</c:v>
                </c:pt>
                <c:pt idx="303">
                  <c:v>2.5920000000000001</c:v>
                </c:pt>
                <c:pt idx="304">
                  <c:v>2.597</c:v>
                </c:pt>
                <c:pt idx="305">
                  <c:v>2.6</c:v>
                </c:pt>
                <c:pt idx="306">
                  <c:v>#N/A</c:v>
                </c:pt>
                <c:pt idx="307">
                  <c:v>2.6</c:v>
                </c:pt>
                <c:pt idx="308">
                  <c:v>2.6</c:v>
                </c:pt>
                <c:pt idx="309">
                  <c:v>2.6389999999999998</c:v>
                </c:pt>
                <c:pt idx="310">
                  <c:v>2.698</c:v>
                </c:pt>
                <c:pt idx="311">
                  <c:v>2.7589999999999999</c:v>
                </c:pt>
                <c:pt idx="312">
                  <c:v>#N/A</c:v>
                </c:pt>
                <c:pt idx="313">
                  <c:v>2.7549999999999999</c:v>
                </c:pt>
                <c:pt idx="314">
                  <c:v>2.9710000000000001</c:v>
                </c:pt>
                <c:pt idx="315">
                  <c:v>2.9950000000000001</c:v>
                </c:pt>
                <c:pt idx="316">
                  <c:v>2.9740000000000002</c:v>
                </c:pt>
                <c:pt idx="317">
                  <c:v>2.8849999999999998</c:v>
                </c:pt>
                <c:pt idx="318">
                  <c:v>#N/A</c:v>
                </c:pt>
                <c:pt idx="319">
                  <c:v>2.9129999999999989</c:v>
                </c:pt>
                <c:pt idx="320">
                  <c:v>3.016999999999999</c:v>
                </c:pt>
                <c:pt idx="321">
                  <c:v>3.02</c:v>
                </c:pt>
                <c:pt idx="322">
                  <c:v>2.96</c:v>
                </c:pt>
                <c:pt idx="323">
                  <c:v>2.94</c:v>
                </c:pt>
                <c:pt idx="324">
                  <c:v>#N/A</c:v>
                </c:pt>
                <c:pt idx="325">
                  <c:v>2.9519999999999991</c:v>
                </c:pt>
                <c:pt idx="326">
                  <c:v>3.2530000000000001</c:v>
                </c:pt>
                <c:pt idx="327">
                  <c:v>3.3509999999999991</c:v>
                </c:pt>
                <c:pt idx="328">
                  <c:v>3.3</c:v>
                </c:pt>
                <c:pt idx="329">
                  <c:v>3.2850000000000001</c:v>
                </c:pt>
                <c:pt idx="330">
                  <c:v>#N/A</c:v>
                </c:pt>
                <c:pt idx="331">
                  <c:v>3.2549999999999999</c:v>
                </c:pt>
                <c:pt idx="332">
                  <c:v>3.218</c:v>
                </c:pt>
                <c:pt idx="333">
                  <c:v>3.2471999999999999</c:v>
                </c:pt>
                <c:pt idx="334">
                  <c:v>3.2465000000000002</c:v>
                </c:pt>
                <c:pt idx="335">
                  <c:v>3.2450000000000001</c:v>
                </c:pt>
                <c:pt idx="336">
                  <c:v>#N/A</c:v>
                </c:pt>
                <c:pt idx="337">
                  <c:v>3.3180000000000001</c:v>
                </c:pt>
                <c:pt idx="338">
                  <c:v>3.2530000000000001</c:v>
                </c:pt>
                <c:pt idx="339">
                  <c:v>3.2949999999999999</c:v>
                </c:pt>
                <c:pt idx="340">
                  <c:v>3.3130000000000002</c:v>
                </c:pt>
                <c:pt idx="341">
                  <c:v>3.3479999999999999</c:v>
                </c:pt>
                <c:pt idx="342">
                  <c:v>#N/A</c:v>
                </c:pt>
                <c:pt idx="343">
                  <c:v>3.3039999999999998</c:v>
                </c:pt>
                <c:pt idx="344">
                  <c:v>3.2503000000000002</c:v>
                </c:pt>
                <c:pt idx="345">
                  <c:v>3.2502</c:v>
                </c:pt>
                <c:pt idx="346">
                  <c:v>3.2040000000000002</c:v>
                </c:pt>
                <c:pt idx="347">
                  <c:v>3.1960000000000002</c:v>
                </c:pt>
                <c:pt idx="348">
                  <c:v>#N/A</c:v>
                </c:pt>
                <c:pt idx="349">
                  <c:v>3.1819999999999999</c:v>
                </c:pt>
                <c:pt idx="350">
                  <c:v>3.145</c:v>
                </c:pt>
                <c:pt idx="351">
                  <c:v>3.0510000000000002</c:v>
                </c:pt>
                <c:pt idx="352">
                  <c:v>3.04</c:v>
                </c:pt>
                <c:pt idx="353">
                  <c:v>3.0009999999999999</c:v>
                </c:pt>
                <c:pt idx="354">
                  <c:v>#N/A</c:v>
                </c:pt>
                <c:pt idx="355">
                  <c:v>2.9550000000000001</c:v>
                </c:pt>
                <c:pt idx="356">
                  <c:v>2.915999999999999</c:v>
                </c:pt>
                <c:pt idx="357">
                  <c:v>2.891999999999999</c:v>
                </c:pt>
                <c:pt idx="358">
                  <c:v>2.8879999999999999</c:v>
                </c:pt>
                <c:pt idx="359">
                  <c:v>2.8889999999999998</c:v>
                </c:pt>
                <c:pt idx="360">
                  <c:v>#N/A</c:v>
                </c:pt>
                <c:pt idx="361">
                  <c:v>2.8580000000000001</c:v>
                </c:pt>
                <c:pt idx="362">
                  <c:v>2.8349999999999991</c:v>
                </c:pt>
                <c:pt idx="363">
                  <c:v>2.8330000000000002</c:v>
                </c:pt>
                <c:pt idx="364">
                  <c:v>2.8479999999999999</c:v>
                </c:pt>
                <c:pt idx="365">
                  <c:v>2.843</c:v>
                </c:pt>
                <c:pt idx="366">
                  <c:v>#N/A</c:v>
                </c:pt>
                <c:pt idx="367">
                  <c:v>2.8410000000000002</c:v>
                </c:pt>
                <c:pt idx="368">
                  <c:v>2.823</c:v>
                </c:pt>
                <c:pt idx="369">
                  <c:v>2.8610000000000002</c:v>
                </c:pt>
                <c:pt idx="370">
                  <c:v>2.875999999999999</c:v>
                </c:pt>
                <c:pt idx="371">
                  <c:v>2.9079999999999999</c:v>
                </c:pt>
                <c:pt idx="372">
                  <c:v>#N/A</c:v>
                </c:pt>
                <c:pt idx="373">
                  <c:v>2.9060000000000001</c:v>
                </c:pt>
                <c:pt idx="374">
                  <c:v>2.847</c:v>
                </c:pt>
                <c:pt idx="375">
                  <c:v>2.8239999999999998</c:v>
                </c:pt>
                <c:pt idx="376">
                  <c:v>2.8149999999999991</c:v>
                </c:pt>
                <c:pt idx="377">
                  <c:v>2.8069999999999991</c:v>
                </c:pt>
                <c:pt idx="378">
                  <c:v>#N/A</c:v>
                </c:pt>
                <c:pt idx="379">
                  <c:v>2.8159999999999989</c:v>
                </c:pt>
                <c:pt idx="380">
                  <c:v>2.8389999999999991</c:v>
                </c:pt>
                <c:pt idx="381">
                  <c:v>2.8589999999999991</c:v>
                </c:pt>
                <c:pt idx="382">
                  <c:v>2.8530000000000002</c:v>
                </c:pt>
                <c:pt idx="383">
                  <c:v>#N/A</c:v>
                </c:pt>
                <c:pt idx="384">
                  <c:v>2.8509999999999991</c:v>
                </c:pt>
                <c:pt idx="385">
                  <c:v>2.8530000000000002</c:v>
                </c:pt>
                <c:pt idx="386">
                  <c:v>2.847</c:v>
                </c:pt>
                <c:pt idx="387">
                  <c:v>2.8410000000000002</c:v>
                </c:pt>
                <c:pt idx="388">
                  <c:v>2.84</c:v>
                </c:pt>
                <c:pt idx="389">
                  <c:v>#N/A</c:v>
                </c:pt>
                <c:pt idx="390">
                  <c:v>2.7970000000000002</c:v>
                </c:pt>
                <c:pt idx="391">
                  <c:v>2.7160000000000002</c:v>
                </c:pt>
                <c:pt idx="392">
                  <c:v>2.6909999999999998</c:v>
                </c:pt>
                <c:pt idx="393">
                  <c:v>2.677</c:v>
                </c:pt>
                <c:pt idx="394">
                  <c:v>2.6779999999999999</c:v>
                </c:pt>
                <c:pt idx="395">
                  <c:v>2.6579999999999999</c:v>
                </c:pt>
                <c:pt idx="396">
                  <c:v>2.5430000000000001</c:v>
                </c:pt>
                <c:pt idx="397">
                  <c:v>2.5325000000000002</c:v>
                </c:pt>
                <c:pt idx="398">
                  <c:v>#N/A</c:v>
                </c:pt>
                <c:pt idx="399">
                  <c:v>2.54</c:v>
                </c:pt>
                <c:pt idx="400">
                  <c:v>2.5623</c:v>
                </c:pt>
                <c:pt idx="401">
                  <c:v>2.5665</c:v>
                </c:pt>
                <c:pt idx="402">
                  <c:v>#N/A</c:v>
                </c:pt>
                <c:pt idx="403">
                  <c:v>2.536</c:v>
                </c:pt>
                <c:pt idx="404">
                  <c:v>2.5379999999999998</c:v>
                </c:pt>
                <c:pt idx="405">
                  <c:v>2.4980000000000002</c:v>
                </c:pt>
                <c:pt idx="406">
                  <c:v>2.4740000000000002</c:v>
                </c:pt>
                <c:pt idx="407">
                  <c:v>2.4609999999999999</c:v>
                </c:pt>
                <c:pt idx="408">
                  <c:v>#N/A</c:v>
                </c:pt>
                <c:pt idx="409">
                  <c:v>2.4279999999999999</c:v>
                </c:pt>
                <c:pt idx="410">
                  <c:v>2.415</c:v>
                </c:pt>
                <c:pt idx="411">
                  <c:v>2.419</c:v>
                </c:pt>
                <c:pt idx="412">
                  <c:v>2.423</c:v>
                </c:pt>
                <c:pt idx="413">
                  <c:v>2.4451999999999998</c:v>
                </c:pt>
                <c:pt idx="414">
                  <c:v>#N/A</c:v>
                </c:pt>
                <c:pt idx="415">
                  <c:v>2.4822000000000002</c:v>
                </c:pt>
                <c:pt idx="416">
                  <c:v>2.4910000000000001</c:v>
                </c:pt>
                <c:pt idx="417">
                  <c:v>2.5179999999999998</c:v>
                </c:pt>
                <c:pt idx="418">
                  <c:v>2.5539999999999998</c:v>
                </c:pt>
                <c:pt idx="419">
                  <c:v>2.5590000000000002</c:v>
                </c:pt>
                <c:pt idx="420">
                  <c:v>#N/A</c:v>
                </c:pt>
                <c:pt idx="421">
                  <c:v>2.548</c:v>
                </c:pt>
                <c:pt idx="422">
                  <c:v>2.5419999999999998</c:v>
                </c:pt>
                <c:pt idx="423">
                  <c:v>2.5419999999999998</c:v>
                </c:pt>
                <c:pt idx="424">
                  <c:v>2.5579999999999998</c:v>
                </c:pt>
                <c:pt idx="425">
                  <c:v>2.569</c:v>
                </c:pt>
                <c:pt idx="426">
                  <c:v>#N/A</c:v>
                </c:pt>
                <c:pt idx="427">
                  <c:v>2.5390000000000001</c:v>
                </c:pt>
                <c:pt idx="428">
                  <c:v>2.492999999999999</c:v>
                </c:pt>
                <c:pt idx="429">
                  <c:v>2.4830000000000001</c:v>
                </c:pt>
                <c:pt idx="430">
                  <c:v>2.472999999999999</c:v>
                </c:pt>
                <c:pt idx="431">
                  <c:v>2.4860000000000002</c:v>
                </c:pt>
                <c:pt idx="432">
                  <c:v>#N/A</c:v>
                </c:pt>
                <c:pt idx="433">
                  <c:v>2.5089999999999999</c:v>
                </c:pt>
                <c:pt idx="434">
                  <c:v>2.5030000000000001</c:v>
                </c:pt>
                <c:pt idx="435">
                  <c:v>2.504</c:v>
                </c:pt>
                <c:pt idx="436">
                  <c:v>2.5390000000000001</c:v>
                </c:pt>
                <c:pt idx="437">
                  <c:v>2.5859999999999999</c:v>
                </c:pt>
                <c:pt idx="438">
                  <c:v>#N/A</c:v>
                </c:pt>
                <c:pt idx="439">
                  <c:v>2.5539999999999998</c:v>
                </c:pt>
                <c:pt idx="440">
                  <c:v>2.5590000000000002</c:v>
                </c:pt>
                <c:pt idx="441">
                  <c:v>2.573</c:v>
                </c:pt>
                <c:pt idx="442">
                  <c:v>2.5840000000000001</c:v>
                </c:pt>
                <c:pt idx="443">
                  <c:v>2.6080000000000001</c:v>
                </c:pt>
                <c:pt idx="444">
                  <c:v>#N/A</c:v>
                </c:pt>
                <c:pt idx="445">
                  <c:v>2.6459999999999999</c:v>
                </c:pt>
                <c:pt idx="446">
                  <c:v>2.6429999999999998</c:v>
                </c:pt>
                <c:pt idx="447">
                  <c:v>2.6339999999999999</c:v>
                </c:pt>
                <c:pt idx="448">
                  <c:v>2.6320000000000001</c:v>
                </c:pt>
                <c:pt idx="449">
                  <c:v>2.6280000000000001</c:v>
                </c:pt>
                <c:pt idx="450">
                  <c:v>#N/A</c:v>
                </c:pt>
                <c:pt idx="451">
                  <c:v>2.641</c:v>
                </c:pt>
                <c:pt idx="452">
                  <c:v>2.64</c:v>
                </c:pt>
                <c:pt idx="453">
                  <c:v>2.6429999999999998</c:v>
                </c:pt>
                <c:pt idx="454">
                  <c:v>2.6459999999999999</c:v>
                </c:pt>
                <c:pt idx="455">
                  <c:v>2.6509999999999998</c:v>
                </c:pt>
                <c:pt idx="456">
                  <c:v>#N/A</c:v>
                </c:pt>
                <c:pt idx="457">
                  <c:v>2.6539999999999999</c:v>
                </c:pt>
                <c:pt idx="458">
                  <c:v>2.6680000000000001</c:v>
                </c:pt>
                <c:pt idx="459">
                  <c:v>2.766</c:v>
                </c:pt>
                <c:pt idx="460">
                  <c:v>3.13</c:v>
                </c:pt>
                <c:pt idx="461">
                  <c:v>3.6059999999999999</c:v>
                </c:pt>
                <c:pt idx="462">
                  <c:v>#N/A</c:v>
                </c:pt>
                <c:pt idx="463">
                  <c:v>3.702</c:v>
                </c:pt>
                <c:pt idx="464">
                  <c:v>3.6669999999999998</c:v>
                </c:pt>
                <c:pt idx="465">
                  <c:v>3.6059999999999999</c:v>
                </c:pt>
                <c:pt idx="466">
                  <c:v>3.5489999999999999</c:v>
                </c:pt>
                <c:pt idx="467">
                  <c:v>3.4860000000000002</c:v>
                </c:pt>
                <c:pt idx="468">
                  <c:v>#N/A</c:v>
                </c:pt>
                <c:pt idx="469">
                  <c:v>3.415</c:v>
                </c:pt>
                <c:pt idx="470">
                  <c:v>3.38</c:v>
                </c:pt>
                <c:pt idx="471">
                  <c:v>3.528</c:v>
                </c:pt>
                <c:pt idx="472">
                  <c:v>3.64</c:v>
                </c:pt>
                <c:pt idx="473">
                  <c:v>3.4209999999999998</c:v>
                </c:pt>
                <c:pt idx="474">
                  <c:v>3.032</c:v>
                </c:pt>
                <c:pt idx="475">
                  <c:v>2.8809999999999998</c:v>
                </c:pt>
                <c:pt idx="476">
                  <c:v>2.83</c:v>
                </c:pt>
                <c:pt idx="477">
                  <c:v>2.8050000000000002</c:v>
                </c:pt>
                <c:pt idx="478">
                  <c:v>#N/A</c:v>
                </c:pt>
                <c:pt idx="479">
                  <c:v>2.7530000000000001</c:v>
                </c:pt>
                <c:pt idx="480">
                  <c:v>2.6669999999999998</c:v>
                </c:pt>
                <c:pt idx="481">
                  <c:v>2.6360000000000001</c:v>
                </c:pt>
                <c:pt idx="482">
                  <c:v>2.6309999999999998</c:v>
                </c:pt>
                <c:pt idx="483">
                  <c:v>2.633</c:v>
                </c:pt>
                <c:pt idx="484">
                  <c:v>#N/A</c:v>
                </c:pt>
                <c:pt idx="485">
                  <c:v>2.66</c:v>
                </c:pt>
                <c:pt idx="486">
                  <c:v>2.7069999999999999</c:v>
                </c:pt>
                <c:pt idx="487">
                  <c:v>2.7879999999999998</c:v>
                </c:pt>
                <c:pt idx="488">
                  <c:v>2.7709999999999999</c:v>
                </c:pt>
                <c:pt idx="489">
                  <c:v>2.7280000000000002</c:v>
                </c:pt>
                <c:pt idx="490">
                  <c:v>#N/A</c:v>
                </c:pt>
                <c:pt idx="491">
                  <c:v>2.6880000000000002</c:v>
                </c:pt>
                <c:pt idx="492">
                  <c:v>2.6739999999999999</c:v>
                </c:pt>
                <c:pt idx="493">
                  <c:v>2.69</c:v>
                </c:pt>
                <c:pt idx="494">
                  <c:v>2.7650000000000001</c:v>
                </c:pt>
                <c:pt idx="495">
                  <c:v>2.8130000000000002</c:v>
                </c:pt>
                <c:pt idx="496">
                  <c:v>#N/A</c:v>
                </c:pt>
                <c:pt idx="497">
                  <c:v>2.8889999999999998</c:v>
                </c:pt>
                <c:pt idx="498">
                  <c:v>2.9544000000000001</c:v>
                </c:pt>
                <c:pt idx="499">
                  <c:v>2.972999999999999</c:v>
                </c:pt>
                <c:pt idx="500">
                  <c:v>2.8660000000000001</c:v>
                </c:pt>
                <c:pt idx="501">
                  <c:v>2.855999999999999</c:v>
                </c:pt>
                <c:pt idx="502">
                  <c:v>#N/A</c:v>
                </c:pt>
                <c:pt idx="503">
                  <c:v>2.8119999999999989</c:v>
                </c:pt>
                <c:pt idx="504">
                  <c:v>2.851999999999999</c:v>
                </c:pt>
                <c:pt idx="505">
                  <c:v>2.9319999999999991</c:v>
                </c:pt>
                <c:pt idx="506">
                  <c:v>3.0579999999999998</c:v>
                </c:pt>
                <c:pt idx="507">
                  <c:v>3.0910000000000002</c:v>
                </c:pt>
                <c:pt idx="508">
                  <c:v>3.1749999999999998</c:v>
                </c:pt>
                <c:pt idx="509">
                  <c:v>3.1819999999999999</c:v>
                </c:pt>
                <c:pt idx="510">
                  <c:v>3.4</c:v>
                </c:pt>
                <c:pt idx="511">
                  <c:v>#N/A</c:v>
                </c:pt>
                <c:pt idx="512">
                  <c:v>3.3279999999999998</c:v>
                </c:pt>
                <c:pt idx="513">
                  <c:v>3.298</c:v>
                </c:pt>
                <c:pt idx="514">
                  <c:v>3.3180000000000001</c:v>
                </c:pt>
                <c:pt idx="515">
                  <c:v>#N/A</c:v>
                </c:pt>
                <c:pt idx="516">
                  <c:v>3.452999999999999</c:v>
                </c:pt>
                <c:pt idx="517">
                  <c:v>3.45</c:v>
                </c:pt>
                <c:pt idx="518">
                  <c:v>3.4460000000000002</c:v>
                </c:pt>
                <c:pt idx="519">
                  <c:v>3.4329999999999989</c:v>
                </c:pt>
                <c:pt idx="520">
                  <c:v>3.415999999999999</c:v>
                </c:pt>
                <c:pt idx="521">
                  <c:v>#N/A</c:v>
                </c:pt>
                <c:pt idx="522">
                  <c:v>3.3809999999999998</c:v>
                </c:pt>
                <c:pt idx="523">
                  <c:v>3.35</c:v>
                </c:pt>
                <c:pt idx="524">
                  <c:v>3.347</c:v>
                </c:pt>
                <c:pt idx="525">
                  <c:v>3.4643999999999999</c:v>
                </c:pt>
                <c:pt idx="526">
                  <c:v>3.4359999999999991</c:v>
                </c:pt>
                <c:pt idx="527">
                  <c:v>#N/A</c:v>
                </c:pt>
                <c:pt idx="528">
                  <c:v>3.403</c:v>
                </c:pt>
                <c:pt idx="529">
                  <c:v>3.375999999999999</c:v>
                </c:pt>
                <c:pt idx="530">
                  <c:v>3.3690000000000002</c:v>
                </c:pt>
                <c:pt idx="531">
                  <c:v>3.331999999999999</c:v>
                </c:pt>
                <c:pt idx="532">
                  <c:v>3.294</c:v>
                </c:pt>
                <c:pt idx="533">
                  <c:v>#N/A</c:v>
                </c:pt>
                <c:pt idx="534">
                  <c:v>3.2170000000000001</c:v>
                </c:pt>
                <c:pt idx="535">
                  <c:v>3.218</c:v>
                </c:pt>
                <c:pt idx="536">
                  <c:v>3.21</c:v>
                </c:pt>
                <c:pt idx="537">
                  <c:v>3.2160000000000002</c:v>
                </c:pt>
                <c:pt idx="538">
                  <c:v>3.206</c:v>
                </c:pt>
                <c:pt idx="539">
                  <c:v>#N/A</c:v>
                </c:pt>
                <c:pt idx="540">
                  <c:v>3.2029999999999998</c:v>
                </c:pt>
                <c:pt idx="541">
                  <c:v>3.1829999999999998</c:v>
                </c:pt>
                <c:pt idx="542">
                  <c:v>3.0870000000000002</c:v>
                </c:pt>
                <c:pt idx="543">
                  <c:v>2.9950000000000001</c:v>
                </c:pt>
                <c:pt idx="544">
                  <c:v>2.887</c:v>
                </c:pt>
                <c:pt idx="545">
                  <c:v>#N/A</c:v>
                </c:pt>
                <c:pt idx="546">
                  <c:v>2.766</c:v>
                </c:pt>
                <c:pt idx="547">
                  <c:v>2.6829999999999998</c:v>
                </c:pt>
                <c:pt idx="548">
                  <c:v>2.5990000000000002</c:v>
                </c:pt>
                <c:pt idx="549">
                  <c:v>2.4889999999999999</c:v>
                </c:pt>
                <c:pt idx="550">
                  <c:v>#N/A</c:v>
                </c:pt>
                <c:pt idx="551">
                  <c:v>2.4049999999999998</c:v>
                </c:pt>
                <c:pt idx="552">
                  <c:v>2.371999999999999</c:v>
                </c:pt>
                <c:pt idx="553">
                  <c:v>2.3069999999999991</c:v>
                </c:pt>
                <c:pt idx="554">
                  <c:v>2.298</c:v>
                </c:pt>
                <c:pt idx="555">
                  <c:v>2.2679999999999998</c:v>
                </c:pt>
                <c:pt idx="556">
                  <c:v>#N/A</c:v>
                </c:pt>
                <c:pt idx="557">
                  <c:v>2.0870000000000002</c:v>
                </c:pt>
                <c:pt idx="558">
                  <c:v>2.0019999999999998</c:v>
                </c:pt>
                <c:pt idx="559">
                  <c:v>1.9490000000000001</c:v>
                </c:pt>
                <c:pt idx="560">
                  <c:v>1.907999999999999</c:v>
                </c:pt>
                <c:pt idx="561">
                  <c:v>1.851</c:v>
                </c:pt>
                <c:pt idx="562">
                  <c:v>#N/A</c:v>
                </c:pt>
                <c:pt idx="563">
                  <c:v>1.806</c:v>
                </c:pt>
                <c:pt idx="564">
                  <c:v>1.7589999999999999</c:v>
                </c:pt>
                <c:pt idx="565">
                  <c:v>1.7390000000000001</c:v>
                </c:pt>
                <c:pt idx="566">
                  <c:v>1.69</c:v>
                </c:pt>
                <c:pt idx="567">
                  <c:v>#N/A</c:v>
                </c:pt>
                <c:pt idx="568">
                  <c:v>1.619</c:v>
                </c:pt>
                <c:pt idx="569">
                  <c:v>1.5640000000000001</c:v>
                </c:pt>
                <c:pt idx="570">
                  <c:v>1.5229999999999999</c:v>
                </c:pt>
                <c:pt idx="571">
                  <c:v>1.4890000000000001</c:v>
                </c:pt>
                <c:pt idx="572">
                  <c:v>1.4430000000000001</c:v>
                </c:pt>
                <c:pt idx="573">
                  <c:v>#N/A</c:v>
                </c:pt>
                <c:pt idx="574">
                  <c:v>1.345</c:v>
                </c:pt>
                <c:pt idx="575">
                  <c:v>1.29</c:v>
                </c:pt>
                <c:pt idx="576">
                  <c:v>1.2470000000000001</c:v>
                </c:pt>
                <c:pt idx="577">
                  <c:v>1.1819999999999999</c:v>
                </c:pt>
                <c:pt idx="578">
                  <c:v>1.0780000000000001</c:v>
                </c:pt>
                <c:pt idx="579">
                  <c:v>#N/A</c:v>
                </c:pt>
                <c:pt idx="580">
                  <c:v>1.052</c:v>
                </c:pt>
                <c:pt idx="581">
                  <c:v>1.0329999999999999</c:v>
                </c:pt>
                <c:pt idx="582">
                  <c:v>1.032</c:v>
                </c:pt>
                <c:pt idx="583">
                  <c:v>1.0329999999999999</c:v>
                </c:pt>
                <c:pt idx="584">
                  <c:v>1.0369999999999999</c:v>
                </c:pt>
                <c:pt idx="585">
                  <c:v>#N/A</c:v>
                </c:pt>
                <c:pt idx="586">
                  <c:v>1.0389999999999999</c:v>
                </c:pt>
                <c:pt idx="587">
                  <c:v>1.04</c:v>
                </c:pt>
                <c:pt idx="588">
                  <c:v>1.04</c:v>
                </c:pt>
                <c:pt idx="589">
                  <c:v>1.0429999999999999</c:v>
                </c:pt>
                <c:pt idx="590">
                  <c:v>1.0389999999999999</c:v>
                </c:pt>
                <c:pt idx="591">
                  <c:v>#N/A</c:v>
                </c:pt>
                <c:pt idx="592">
                  <c:v>1.0269999999999999</c:v>
                </c:pt>
                <c:pt idx="593">
                  <c:v>1.034</c:v>
                </c:pt>
                <c:pt idx="594">
                  <c:v>1.0389999999999999</c:v>
                </c:pt>
                <c:pt idx="595">
                  <c:v>1.0469999999999999</c:v>
                </c:pt>
                <c:pt idx="596">
                  <c:v>1.0509999999999999</c:v>
                </c:pt>
                <c:pt idx="597">
                  <c:v>#N/A</c:v>
                </c:pt>
                <c:pt idx="598">
                  <c:v>1.0609999999999999</c:v>
                </c:pt>
                <c:pt idx="599">
                  <c:v>1.071</c:v>
                </c:pt>
                <c:pt idx="600">
                  <c:v>1.083</c:v>
                </c:pt>
                <c:pt idx="601">
                  <c:v>1.0900000000000001</c:v>
                </c:pt>
                <c:pt idx="602">
                  <c:v>1.1040000000000001</c:v>
                </c:pt>
                <c:pt idx="603">
                  <c:v>#N/A</c:v>
                </c:pt>
                <c:pt idx="604">
                  <c:v>1.121</c:v>
                </c:pt>
                <c:pt idx="605">
                  <c:v>1.131</c:v>
                </c:pt>
                <c:pt idx="606">
                  <c:v>1.151</c:v>
                </c:pt>
                <c:pt idx="607">
                  <c:v>1.202</c:v>
                </c:pt>
                <c:pt idx="608">
                  <c:v>1.2669999999999999</c:v>
                </c:pt>
                <c:pt idx="609">
                  <c:v>#N/A</c:v>
                </c:pt>
                <c:pt idx="610">
                  <c:v>1.2949999999999999</c:v>
                </c:pt>
                <c:pt idx="611">
                  <c:v>1.3380000000000001</c:v>
                </c:pt>
                <c:pt idx="612">
                  <c:v>1.357</c:v>
                </c:pt>
                <c:pt idx="613">
                  <c:v>1.357</c:v>
                </c:pt>
                <c:pt idx="614">
                  <c:v>#N/A</c:v>
                </c:pt>
                <c:pt idx="615">
                  <c:v>1.34</c:v>
                </c:pt>
                <c:pt idx="616">
                  <c:v>1.2569999999999999</c:v>
                </c:pt>
                <c:pt idx="617">
                  <c:v>1.163</c:v>
                </c:pt>
                <c:pt idx="618">
                  <c:v>1.1608000000000001</c:v>
                </c:pt>
                <c:pt idx="619">
                  <c:v>1.159</c:v>
                </c:pt>
                <c:pt idx="620">
                  <c:v>#N/A</c:v>
                </c:pt>
                <c:pt idx="621">
                  <c:v>1.167</c:v>
                </c:pt>
                <c:pt idx="622">
                  <c:v>1.1759999999999999</c:v>
                </c:pt>
                <c:pt idx="623">
                  <c:v>1.1870000000000001</c:v>
                </c:pt>
                <c:pt idx="624">
                  <c:v>1.198</c:v>
                </c:pt>
                <c:pt idx="625">
                  <c:v>1.21</c:v>
                </c:pt>
                <c:pt idx="626">
                  <c:v>#N/A</c:v>
                </c:pt>
                <c:pt idx="627">
                  <c:v>1.224</c:v>
                </c:pt>
                <c:pt idx="628">
                  <c:v>1.238</c:v>
                </c:pt>
                <c:pt idx="629">
                  <c:v>1.2450000000000001</c:v>
                </c:pt>
                <c:pt idx="630">
                  <c:v>1.2629999999999999</c:v>
                </c:pt>
                <c:pt idx="631">
                  <c:v>1.282</c:v>
                </c:pt>
                <c:pt idx="632">
                  <c:v>#N/A</c:v>
                </c:pt>
                <c:pt idx="633">
                  <c:v>1.29</c:v>
                </c:pt>
                <c:pt idx="634">
                  <c:v>1.304</c:v>
                </c:pt>
                <c:pt idx="635">
                  <c:v>1.323</c:v>
                </c:pt>
                <c:pt idx="636">
                  <c:v>1.3320000000000001</c:v>
                </c:pt>
                <c:pt idx="637">
                  <c:v>1.337</c:v>
                </c:pt>
                <c:pt idx="638">
                  <c:v>#N/A</c:v>
                </c:pt>
                <c:pt idx="639">
                  <c:v>1.3740000000000001</c:v>
                </c:pt>
                <c:pt idx="640">
                  <c:v>1.3879999999999999</c:v>
                </c:pt>
                <c:pt idx="641">
                  <c:v>1.427</c:v>
                </c:pt>
                <c:pt idx="642">
                  <c:v>1.448</c:v>
                </c:pt>
                <c:pt idx="643">
                  <c:v>1.47</c:v>
                </c:pt>
                <c:pt idx="644">
                  <c:v>#N/A</c:v>
                </c:pt>
                <c:pt idx="645">
                  <c:v>1.488</c:v>
                </c:pt>
                <c:pt idx="646">
                  <c:v>1.4970000000000001</c:v>
                </c:pt>
                <c:pt idx="647">
                  <c:v>1.508</c:v>
                </c:pt>
                <c:pt idx="648">
                  <c:v>1.5169999999999999</c:v>
                </c:pt>
                <c:pt idx="649">
                  <c:v>1.5289999999999999</c:v>
                </c:pt>
                <c:pt idx="650">
                  <c:v>#N/A</c:v>
                </c:pt>
                <c:pt idx="651">
                  <c:v>1.5569999999999999</c:v>
                </c:pt>
                <c:pt idx="652">
                  <c:v>1.5860000000000001</c:v>
                </c:pt>
                <c:pt idx="653">
                  <c:v>1.6140000000000001</c:v>
                </c:pt>
                <c:pt idx="654">
                  <c:v>1.641</c:v>
                </c:pt>
                <c:pt idx="655">
                  <c:v>1.667</c:v>
                </c:pt>
                <c:pt idx="656">
                  <c:v>#N/A</c:v>
                </c:pt>
                <c:pt idx="657">
                  <c:v>1.7010000000000001</c:v>
                </c:pt>
                <c:pt idx="658">
                  <c:v>1.7450000000000001</c:v>
                </c:pt>
                <c:pt idx="659">
                  <c:v>1.788</c:v>
                </c:pt>
                <c:pt idx="660">
                  <c:v>1.83</c:v>
                </c:pt>
                <c:pt idx="661">
                  <c:v>1.847</c:v>
                </c:pt>
                <c:pt idx="662">
                  <c:v>#N/A</c:v>
                </c:pt>
                <c:pt idx="663">
                  <c:v>1.8660000000000001</c:v>
                </c:pt>
                <c:pt idx="664">
                  <c:v>1.879</c:v>
                </c:pt>
                <c:pt idx="665">
                  <c:v>1.786</c:v>
                </c:pt>
                <c:pt idx="666">
                  <c:v>1.7589999999999999</c:v>
                </c:pt>
                <c:pt idx="667">
                  <c:v>1.774</c:v>
                </c:pt>
                <c:pt idx="668">
                  <c:v>#N/A</c:v>
                </c:pt>
                <c:pt idx="669">
                  <c:v>1.8009999999999999</c:v>
                </c:pt>
                <c:pt idx="670">
                  <c:v>1.821</c:v>
                </c:pt>
                <c:pt idx="671">
                  <c:v>2.0310000000000001</c:v>
                </c:pt>
                <c:pt idx="672">
                  <c:v>1.901</c:v>
                </c:pt>
                <c:pt idx="673">
                  <c:v>1.903999999999999</c:v>
                </c:pt>
                <c:pt idx="674">
                  <c:v>1.897</c:v>
                </c:pt>
                <c:pt idx="675">
                  <c:v>1.8959999999999999</c:v>
                </c:pt>
                <c:pt idx="676">
                  <c:v>1.899</c:v>
                </c:pt>
                <c:pt idx="677">
                  <c:v>1.9000999999999999</c:v>
                </c:pt>
                <c:pt idx="678">
                  <c:v>#N/A</c:v>
                </c:pt>
                <c:pt idx="679">
                  <c:v>1.899</c:v>
                </c:pt>
                <c:pt idx="680">
                  <c:v>1.899</c:v>
                </c:pt>
                <c:pt idx="681">
                  <c:v>1.9</c:v>
                </c:pt>
                <c:pt idx="682">
                  <c:v>1.899</c:v>
                </c:pt>
                <c:pt idx="683">
                  <c:v>1.9</c:v>
                </c:pt>
                <c:pt idx="684">
                  <c:v>#N/A</c:v>
                </c:pt>
                <c:pt idx="685">
                  <c:v>1.901</c:v>
                </c:pt>
                <c:pt idx="686">
                  <c:v>1.907999999999999</c:v>
                </c:pt>
                <c:pt idx="687">
                  <c:v>1.907999999999999</c:v>
                </c:pt>
                <c:pt idx="688">
                  <c:v>1.909</c:v>
                </c:pt>
                <c:pt idx="689">
                  <c:v>1.907</c:v>
                </c:pt>
                <c:pt idx="690">
                  <c:v>#N/A</c:v>
                </c:pt>
                <c:pt idx="691">
                  <c:v>1.91</c:v>
                </c:pt>
                <c:pt idx="692">
                  <c:v>1.907</c:v>
                </c:pt>
                <c:pt idx="693">
                  <c:v>1.9890000000000001</c:v>
                </c:pt>
                <c:pt idx="694">
                  <c:v>#N/A</c:v>
                </c:pt>
                <c:pt idx="695">
                  <c:v>1.909</c:v>
                </c:pt>
                <c:pt idx="696">
                  <c:v>1.905999999999999</c:v>
                </c:pt>
                <c:pt idx="697">
                  <c:v>#N/A</c:v>
                </c:pt>
                <c:pt idx="698">
                  <c:v>1.901999999999999</c:v>
                </c:pt>
                <c:pt idx="699">
                  <c:v>1.9</c:v>
                </c:pt>
                <c:pt idx="700">
                  <c:v>1.9</c:v>
                </c:pt>
                <c:pt idx="701">
                  <c:v>1.901</c:v>
                </c:pt>
                <c:pt idx="702">
                  <c:v>1.899</c:v>
                </c:pt>
                <c:pt idx="703">
                  <c:v>#N/A</c:v>
                </c:pt>
                <c:pt idx="704">
                  <c:v>1.901999999999999</c:v>
                </c:pt>
                <c:pt idx="705">
                  <c:v>1.903</c:v>
                </c:pt>
                <c:pt idx="706">
                  <c:v>1.905</c:v>
                </c:pt>
                <c:pt idx="707">
                  <c:v>1.903999999999999</c:v>
                </c:pt>
                <c:pt idx="708">
                  <c:v>1.909</c:v>
                </c:pt>
                <c:pt idx="709">
                  <c:v>#N/A</c:v>
                </c:pt>
                <c:pt idx="710">
                  <c:v>1.84</c:v>
                </c:pt>
                <c:pt idx="711">
                  <c:v>1.8</c:v>
                </c:pt>
                <c:pt idx="712">
                  <c:v>1.796</c:v>
                </c:pt>
                <c:pt idx="713">
                  <c:v>1.798</c:v>
                </c:pt>
                <c:pt idx="714">
                  <c:v>1.798</c:v>
                </c:pt>
                <c:pt idx="715">
                  <c:v>#N/A</c:v>
                </c:pt>
                <c:pt idx="716">
                  <c:v>1.7929999999999999</c:v>
                </c:pt>
                <c:pt idx="717">
                  <c:v>1.792</c:v>
                </c:pt>
                <c:pt idx="718">
                  <c:v>1.79</c:v>
                </c:pt>
                <c:pt idx="719">
                  <c:v>1.7869999999999999</c:v>
                </c:pt>
                <c:pt idx="720">
                  <c:v>1.7869999999999999</c:v>
                </c:pt>
                <c:pt idx="721">
                  <c:v>#N/A</c:v>
                </c:pt>
                <c:pt idx="722">
                  <c:v>1.786</c:v>
                </c:pt>
                <c:pt idx="723">
                  <c:v>1.7829999999999999</c:v>
                </c:pt>
                <c:pt idx="724">
                  <c:v>1.782</c:v>
                </c:pt>
                <c:pt idx="725">
                  <c:v>1.784</c:v>
                </c:pt>
                <c:pt idx="726">
                  <c:v>1.786</c:v>
                </c:pt>
                <c:pt idx="727">
                  <c:v>#N/A</c:v>
                </c:pt>
                <c:pt idx="728">
                  <c:v>1.784</c:v>
                </c:pt>
                <c:pt idx="729">
                  <c:v>1.782</c:v>
                </c:pt>
                <c:pt idx="730">
                  <c:v>1.7809999999999999</c:v>
                </c:pt>
                <c:pt idx="731">
                  <c:v>1.7849999999999999</c:v>
                </c:pt>
                <c:pt idx="732">
                  <c:v>1.784</c:v>
                </c:pt>
                <c:pt idx="733">
                  <c:v>#N/A</c:v>
                </c:pt>
                <c:pt idx="734">
                  <c:v>1.7849999999999999</c:v>
                </c:pt>
                <c:pt idx="735">
                  <c:v>1.7849999999999999</c:v>
                </c:pt>
                <c:pt idx="736">
                  <c:v>1.7849999999999999</c:v>
                </c:pt>
                <c:pt idx="737">
                  <c:v>1.7849999999999999</c:v>
                </c:pt>
                <c:pt idx="738">
                  <c:v>1.786</c:v>
                </c:pt>
                <c:pt idx="739">
                  <c:v>#N/A</c:v>
                </c:pt>
                <c:pt idx="740">
                  <c:v>1.788</c:v>
                </c:pt>
                <c:pt idx="741">
                  <c:v>1.788</c:v>
                </c:pt>
                <c:pt idx="742">
                  <c:v>1.786</c:v>
                </c:pt>
                <c:pt idx="743">
                  <c:v>1.7869999999999999</c:v>
                </c:pt>
                <c:pt idx="744">
                  <c:v>1.7869999999999999</c:v>
                </c:pt>
                <c:pt idx="745">
                  <c:v>#N/A</c:v>
                </c:pt>
                <c:pt idx="746">
                  <c:v>1.784</c:v>
                </c:pt>
                <c:pt idx="747">
                  <c:v>1.786</c:v>
                </c:pt>
                <c:pt idx="748">
                  <c:v>1.7889999999999999</c:v>
                </c:pt>
                <c:pt idx="749">
                  <c:v>1.7889999999999999</c:v>
                </c:pt>
                <c:pt idx="750">
                  <c:v>1.788</c:v>
                </c:pt>
                <c:pt idx="751">
                  <c:v>#N/A</c:v>
                </c:pt>
                <c:pt idx="752">
                  <c:v>1.788</c:v>
                </c:pt>
                <c:pt idx="753">
                  <c:v>1.788</c:v>
                </c:pt>
                <c:pt idx="754">
                  <c:v>1.79</c:v>
                </c:pt>
                <c:pt idx="755">
                  <c:v>1.7929999999999999</c:v>
                </c:pt>
                <c:pt idx="756">
                  <c:v>1.8160000000000001</c:v>
                </c:pt>
                <c:pt idx="757">
                  <c:v>#N/A</c:v>
                </c:pt>
                <c:pt idx="758">
                  <c:v>1.843</c:v>
                </c:pt>
                <c:pt idx="759">
                  <c:v>1.875</c:v>
                </c:pt>
                <c:pt idx="760">
                  <c:v>1.903</c:v>
                </c:pt>
                <c:pt idx="761">
                  <c:v>1.923999999999999</c:v>
                </c:pt>
                <c:pt idx="762">
                  <c:v>1.9339999999999991</c:v>
                </c:pt>
                <c:pt idx="763">
                  <c:v>#N/A</c:v>
                </c:pt>
                <c:pt idx="764">
                  <c:v>1.9390000000000001</c:v>
                </c:pt>
                <c:pt idx="765">
                  <c:v>1.9350000000000001</c:v>
                </c:pt>
                <c:pt idx="766">
                  <c:v>1.9350000000000001</c:v>
                </c:pt>
                <c:pt idx="767">
                  <c:v>1.9910000000000001</c:v>
                </c:pt>
                <c:pt idx="768">
                  <c:v>#N/A</c:v>
                </c:pt>
                <c:pt idx="769">
                  <c:v>1.9950000000000001</c:v>
                </c:pt>
                <c:pt idx="770">
                  <c:v>1.998</c:v>
                </c:pt>
                <c:pt idx="771">
                  <c:v>1.98</c:v>
                </c:pt>
                <c:pt idx="772">
                  <c:v>1.966</c:v>
                </c:pt>
                <c:pt idx="773">
                  <c:v>1.958</c:v>
                </c:pt>
                <c:pt idx="774">
                  <c:v>#N/A</c:v>
                </c:pt>
                <c:pt idx="775">
                  <c:v>1.9510000000000001</c:v>
                </c:pt>
                <c:pt idx="776">
                  <c:v>1.9510000000000001</c:v>
                </c:pt>
                <c:pt idx="777">
                  <c:v>1.95</c:v>
                </c:pt>
                <c:pt idx="778">
                  <c:v>1.95</c:v>
                </c:pt>
                <c:pt idx="779">
                  <c:v>1.956</c:v>
                </c:pt>
                <c:pt idx="780">
                  <c:v>#N/A</c:v>
                </c:pt>
                <c:pt idx="781">
                  <c:v>1.954</c:v>
                </c:pt>
                <c:pt idx="782">
                  <c:v>1.9590000000000001</c:v>
                </c:pt>
                <c:pt idx="783">
                  <c:v>1.9830000000000001</c:v>
                </c:pt>
                <c:pt idx="784">
                  <c:v>2.0139999999999998</c:v>
                </c:pt>
                <c:pt idx="785">
                  <c:v>2.028</c:v>
                </c:pt>
                <c:pt idx="786">
                  <c:v>#N/A</c:v>
                </c:pt>
                <c:pt idx="787">
                  <c:v>2.0089999999999999</c:v>
                </c:pt>
                <c:pt idx="788">
                  <c:v>1.9970000000000001</c:v>
                </c:pt>
                <c:pt idx="789">
                  <c:v>1.9950000000000001</c:v>
                </c:pt>
                <c:pt idx="790">
                  <c:v>1.992</c:v>
                </c:pt>
                <c:pt idx="791">
                  <c:v>1.9890000000000001</c:v>
                </c:pt>
                <c:pt idx="792">
                  <c:v>#N/A</c:v>
                </c:pt>
                <c:pt idx="793">
                  <c:v>1.9870000000000001</c:v>
                </c:pt>
                <c:pt idx="794">
                  <c:v>1.984</c:v>
                </c:pt>
                <c:pt idx="795">
                  <c:v>1.9830000000000001</c:v>
                </c:pt>
                <c:pt idx="796">
                  <c:v>1.9830000000000001</c:v>
                </c:pt>
                <c:pt idx="797">
                  <c:v>1.984</c:v>
                </c:pt>
                <c:pt idx="798">
                  <c:v>1.978</c:v>
                </c:pt>
                <c:pt idx="799">
                  <c:v>1.9770000000000001</c:v>
                </c:pt>
                <c:pt idx="800">
                  <c:v>1.974</c:v>
                </c:pt>
                <c:pt idx="801">
                  <c:v>1.968</c:v>
                </c:pt>
                <c:pt idx="802">
                  <c:v>1.9510000000000001</c:v>
                </c:pt>
                <c:pt idx="803">
                  <c:v>1.9379999999999991</c:v>
                </c:pt>
                <c:pt idx="804">
                  <c:v>#N/A</c:v>
                </c:pt>
                <c:pt idx="805">
                  <c:v>1.9339999999999991</c:v>
                </c:pt>
                <c:pt idx="806">
                  <c:v>1.9330000000000001</c:v>
                </c:pt>
                <c:pt idx="807">
                  <c:v>1.956</c:v>
                </c:pt>
                <c:pt idx="808">
                  <c:v>2.004</c:v>
                </c:pt>
                <c:pt idx="809">
                  <c:v>2.048</c:v>
                </c:pt>
                <c:pt idx="810">
                  <c:v>#N/A</c:v>
                </c:pt>
                <c:pt idx="811">
                  <c:v>2.0070000000000001</c:v>
                </c:pt>
                <c:pt idx="812">
                  <c:v>1.968</c:v>
                </c:pt>
                <c:pt idx="813">
                  <c:v>1.962</c:v>
                </c:pt>
                <c:pt idx="814">
                  <c:v>1.9570000000000001</c:v>
                </c:pt>
                <c:pt idx="815">
                  <c:v>1.95</c:v>
                </c:pt>
                <c:pt idx="816">
                  <c:v>#N/A</c:v>
                </c:pt>
                <c:pt idx="817">
                  <c:v>1.9510000000000001</c:v>
                </c:pt>
                <c:pt idx="818">
                  <c:v>1.95</c:v>
                </c:pt>
                <c:pt idx="819">
                  <c:v>1.95</c:v>
                </c:pt>
                <c:pt idx="820">
                  <c:v>1.9470000000000001</c:v>
                </c:pt>
                <c:pt idx="821">
                  <c:v>1.9450000000000001</c:v>
                </c:pt>
                <c:pt idx="822">
                  <c:v>#N/A</c:v>
                </c:pt>
                <c:pt idx="823">
                  <c:v>1.9490000000000001</c:v>
                </c:pt>
                <c:pt idx="824">
                  <c:v>1.9530000000000001</c:v>
                </c:pt>
                <c:pt idx="825">
                  <c:v>1.956</c:v>
                </c:pt>
                <c:pt idx="826">
                  <c:v>1.97</c:v>
                </c:pt>
                <c:pt idx="827">
                  <c:v>1.99</c:v>
                </c:pt>
                <c:pt idx="828">
                  <c:v>#N/A</c:v>
                </c:pt>
                <c:pt idx="829">
                  <c:v>1.998</c:v>
                </c:pt>
                <c:pt idx="830">
                  <c:v>2.0070000000000001</c:v>
                </c:pt>
                <c:pt idx="831">
                  <c:v>2</c:v>
                </c:pt>
                <c:pt idx="832">
                  <c:v>1.9950000000000001</c:v>
                </c:pt>
                <c:pt idx="833">
                  <c:v>1.9890000000000001</c:v>
                </c:pt>
                <c:pt idx="834">
                  <c:v>#N/A</c:v>
                </c:pt>
                <c:pt idx="835">
                  <c:v>1.992</c:v>
                </c:pt>
                <c:pt idx="836">
                  <c:v>1.996</c:v>
                </c:pt>
                <c:pt idx="837">
                  <c:v>2.004</c:v>
                </c:pt>
                <c:pt idx="838">
                  <c:v>2.016999999999999</c:v>
                </c:pt>
                <c:pt idx="839">
                  <c:v>2.0139999999999998</c:v>
                </c:pt>
                <c:pt idx="840">
                  <c:v>#N/A</c:v>
                </c:pt>
                <c:pt idx="841">
                  <c:v>1.9930000000000001</c:v>
                </c:pt>
                <c:pt idx="842">
                  <c:v>1.9830000000000001</c:v>
                </c:pt>
                <c:pt idx="843">
                  <c:v>1.9782999999999999</c:v>
                </c:pt>
                <c:pt idx="844">
                  <c:v>1.98</c:v>
                </c:pt>
                <c:pt idx="845">
                  <c:v>#N/A</c:v>
                </c:pt>
                <c:pt idx="846">
                  <c:v>1.9850000000000001</c:v>
                </c:pt>
                <c:pt idx="847">
                  <c:v>1.9930000000000001</c:v>
                </c:pt>
                <c:pt idx="848">
                  <c:v>1.996</c:v>
                </c:pt>
                <c:pt idx="849">
                  <c:v>1.9990000000000001</c:v>
                </c:pt>
                <c:pt idx="850">
                  <c:v>1.9950000000000001</c:v>
                </c:pt>
                <c:pt idx="851">
                  <c:v>#N/A</c:v>
                </c:pt>
                <c:pt idx="852">
                  <c:v>1.998</c:v>
                </c:pt>
                <c:pt idx="853">
                  <c:v>2.004</c:v>
                </c:pt>
                <c:pt idx="854">
                  <c:v>2.0179999999999998</c:v>
                </c:pt>
                <c:pt idx="855">
                  <c:v>2.0289999999999999</c:v>
                </c:pt>
                <c:pt idx="856">
                  <c:v>2.0379999999999998</c:v>
                </c:pt>
                <c:pt idx="857">
                  <c:v>#N/A</c:v>
                </c:pt>
                <c:pt idx="858">
                  <c:v>2.0449999999999999</c:v>
                </c:pt>
                <c:pt idx="859">
                  <c:v>2.036</c:v>
                </c:pt>
                <c:pt idx="860">
                  <c:v>2.024</c:v>
                </c:pt>
                <c:pt idx="861">
                  <c:v>2.0209999999999999</c:v>
                </c:pt>
                <c:pt idx="862">
                  <c:v>2.0489999999999999</c:v>
                </c:pt>
                <c:pt idx="863">
                  <c:v>#N/A</c:v>
                </c:pt>
                <c:pt idx="864">
                  <c:v>2.0032999999999999</c:v>
                </c:pt>
                <c:pt idx="865">
                  <c:v>2</c:v>
                </c:pt>
                <c:pt idx="866">
                  <c:v>2.0009999999999999</c:v>
                </c:pt>
                <c:pt idx="867">
                  <c:v>2</c:v>
                </c:pt>
                <c:pt idx="868">
                  <c:v>#N/A</c:v>
                </c:pt>
                <c:pt idx="869">
                  <c:v>1.9990000000000001</c:v>
                </c:pt>
                <c:pt idx="870">
                  <c:v>1.9990000000000001</c:v>
                </c:pt>
                <c:pt idx="871">
                  <c:v>1.9990000000000001</c:v>
                </c:pt>
                <c:pt idx="872">
                  <c:v>2</c:v>
                </c:pt>
                <c:pt idx="873">
                  <c:v>2.0019999999999998</c:v>
                </c:pt>
                <c:pt idx="874">
                  <c:v>#N/A</c:v>
                </c:pt>
                <c:pt idx="875">
                  <c:v>2.0049999999999999</c:v>
                </c:pt>
                <c:pt idx="876">
                  <c:v>2.0110000000000001</c:v>
                </c:pt>
                <c:pt idx="877">
                  <c:v>2.0110000000000001</c:v>
                </c:pt>
                <c:pt idx="878">
                  <c:v>2.0099999999999998</c:v>
                </c:pt>
                <c:pt idx="879">
                  <c:v>2.008</c:v>
                </c:pt>
                <c:pt idx="880">
                  <c:v>#N/A</c:v>
                </c:pt>
                <c:pt idx="881">
                  <c:v>2.004</c:v>
                </c:pt>
                <c:pt idx="882">
                  <c:v>2.0019999999999998</c:v>
                </c:pt>
                <c:pt idx="883">
                  <c:v>2.0009999999999999</c:v>
                </c:pt>
                <c:pt idx="884">
                  <c:v>2.0009999999999999</c:v>
                </c:pt>
                <c:pt idx="885">
                  <c:v>2.0009999999999999</c:v>
                </c:pt>
                <c:pt idx="886">
                  <c:v>#N/A</c:v>
                </c:pt>
                <c:pt idx="887">
                  <c:v>2.0019999999999998</c:v>
                </c:pt>
                <c:pt idx="888">
                  <c:v>2.0099999999999998</c:v>
                </c:pt>
                <c:pt idx="889">
                  <c:v>2.0059999999999998</c:v>
                </c:pt>
                <c:pt idx="890">
                  <c:v>2.004</c:v>
                </c:pt>
                <c:pt idx="891">
                  <c:v>1.9990000000000001</c:v>
                </c:pt>
                <c:pt idx="892">
                  <c:v>#N/A</c:v>
                </c:pt>
                <c:pt idx="893">
                  <c:v>1.998</c:v>
                </c:pt>
                <c:pt idx="894">
                  <c:v>2</c:v>
                </c:pt>
                <c:pt idx="895">
                  <c:v>2</c:v>
                </c:pt>
                <c:pt idx="896">
                  <c:v>2</c:v>
                </c:pt>
                <c:pt idx="897">
                  <c:v>2</c:v>
                </c:pt>
                <c:pt idx="898">
                  <c:v>2</c:v>
                </c:pt>
                <c:pt idx="899">
                  <c:v>2</c:v>
                </c:pt>
                <c:pt idx="900">
                  <c:v>2.0019999999999998</c:v>
                </c:pt>
                <c:pt idx="901">
                  <c:v>2.0049999999999999</c:v>
                </c:pt>
                <c:pt idx="902">
                  <c:v>#N/A</c:v>
                </c:pt>
                <c:pt idx="903">
                  <c:v>2.0099999999999998</c:v>
                </c:pt>
                <c:pt idx="904">
                  <c:v>2.0190000000000001</c:v>
                </c:pt>
                <c:pt idx="905">
                  <c:v>2.0270000000000001</c:v>
                </c:pt>
                <c:pt idx="906">
                  <c:v>2.032</c:v>
                </c:pt>
                <c:pt idx="907">
                  <c:v>2.0350000000000001</c:v>
                </c:pt>
                <c:pt idx="908">
                  <c:v>#N/A</c:v>
                </c:pt>
                <c:pt idx="909">
                  <c:v>2.0379999999999998</c:v>
                </c:pt>
                <c:pt idx="910">
                  <c:v>2.04</c:v>
                </c:pt>
                <c:pt idx="911">
                  <c:v>2.0379999999999998</c:v>
                </c:pt>
                <c:pt idx="912">
                  <c:v>2.036999999999999</c:v>
                </c:pt>
                <c:pt idx="913">
                  <c:v>2.0270000000000001</c:v>
                </c:pt>
                <c:pt idx="914">
                  <c:v>#N/A</c:v>
                </c:pt>
                <c:pt idx="915">
                  <c:v>2.0139999999999998</c:v>
                </c:pt>
                <c:pt idx="916">
                  <c:v>2.0070000000000001</c:v>
                </c:pt>
                <c:pt idx="917">
                  <c:v>1.9990000000000001</c:v>
                </c:pt>
                <c:pt idx="918">
                  <c:v>1.9970000000000001</c:v>
                </c:pt>
                <c:pt idx="919">
                  <c:v>1.996</c:v>
                </c:pt>
                <c:pt idx="920">
                  <c:v>#N/A</c:v>
                </c:pt>
                <c:pt idx="921">
                  <c:v>1.996</c:v>
                </c:pt>
                <c:pt idx="922">
                  <c:v>1.994</c:v>
                </c:pt>
                <c:pt idx="923">
                  <c:v>1.9930000000000001</c:v>
                </c:pt>
                <c:pt idx="924">
                  <c:v>1.9930000000000001</c:v>
                </c:pt>
                <c:pt idx="925">
                  <c:v>1.996</c:v>
                </c:pt>
                <c:pt idx="926">
                  <c:v>#N/A</c:v>
                </c:pt>
                <c:pt idx="927">
                  <c:v>1.996</c:v>
                </c:pt>
                <c:pt idx="928">
                  <c:v>2.0030000000000001</c:v>
                </c:pt>
                <c:pt idx="929">
                  <c:v>2.0049999999999999</c:v>
                </c:pt>
                <c:pt idx="930">
                  <c:v>2.008</c:v>
                </c:pt>
                <c:pt idx="931">
                  <c:v>2.0230000000000001</c:v>
                </c:pt>
                <c:pt idx="932">
                  <c:v>#N/A</c:v>
                </c:pt>
                <c:pt idx="933">
                  <c:v>2.032</c:v>
                </c:pt>
                <c:pt idx="934">
                  <c:v>2.036999999999999</c:v>
                </c:pt>
                <c:pt idx="935">
                  <c:v>2.0379999999999998</c:v>
                </c:pt>
                <c:pt idx="936">
                  <c:v>2.028</c:v>
                </c:pt>
                <c:pt idx="937">
                  <c:v>2.016999999999999</c:v>
                </c:pt>
                <c:pt idx="938">
                  <c:v>#N/A</c:v>
                </c:pt>
                <c:pt idx="939">
                  <c:v>2.012</c:v>
                </c:pt>
                <c:pt idx="940">
                  <c:v>2.008</c:v>
                </c:pt>
                <c:pt idx="941">
                  <c:v>2.004</c:v>
                </c:pt>
                <c:pt idx="942">
                  <c:v>2.0019999999999998</c:v>
                </c:pt>
                <c:pt idx="943">
                  <c:v>2.0019999999999998</c:v>
                </c:pt>
                <c:pt idx="944">
                  <c:v>#N/A</c:v>
                </c:pt>
                <c:pt idx="945">
                  <c:v>2.0049999999999999</c:v>
                </c:pt>
                <c:pt idx="946">
                  <c:v>2.0099999999999998</c:v>
                </c:pt>
                <c:pt idx="947">
                  <c:v>2.016999999999999</c:v>
                </c:pt>
                <c:pt idx="948">
                  <c:v>2.0209999999999999</c:v>
                </c:pt>
                <c:pt idx="949">
                  <c:v>2.0209999999999999</c:v>
                </c:pt>
                <c:pt idx="950">
                  <c:v>#N/A</c:v>
                </c:pt>
                <c:pt idx="951">
                  <c:v>2.0232999999999999</c:v>
                </c:pt>
                <c:pt idx="952">
                  <c:v>2.0219999999999998</c:v>
                </c:pt>
                <c:pt idx="953">
                  <c:v>2.0219999999999998</c:v>
                </c:pt>
                <c:pt idx="954">
                  <c:v>2.0230000000000001</c:v>
                </c:pt>
                <c:pt idx="955">
                  <c:v>2.0230000000000001</c:v>
                </c:pt>
                <c:pt idx="956">
                  <c:v>#N/A</c:v>
                </c:pt>
                <c:pt idx="957">
                  <c:v>2.0232999999999999</c:v>
                </c:pt>
                <c:pt idx="958">
                  <c:v>2.032999999999999</c:v>
                </c:pt>
                <c:pt idx="959">
                  <c:v>2.0430000000000001</c:v>
                </c:pt>
                <c:pt idx="960">
                  <c:v>2.044</c:v>
                </c:pt>
                <c:pt idx="961">
                  <c:v>2.044</c:v>
                </c:pt>
                <c:pt idx="962">
                  <c:v>#N/A</c:v>
                </c:pt>
                <c:pt idx="963">
                  <c:v>2.0489999999999999</c:v>
                </c:pt>
                <c:pt idx="964">
                  <c:v>2.0630000000000002</c:v>
                </c:pt>
                <c:pt idx="965">
                  <c:v>2.0649999999999999</c:v>
                </c:pt>
                <c:pt idx="966">
                  <c:v>2.0659999999999998</c:v>
                </c:pt>
                <c:pt idx="967">
                  <c:v>2.0659999999999998</c:v>
                </c:pt>
                <c:pt idx="968">
                  <c:v>#N/A</c:v>
                </c:pt>
                <c:pt idx="969">
                  <c:v>2.0699999999999998</c:v>
                </c:pt>
                <c:pt idx="970">
                  <c:v>2.077</c:v>
                </c:pt>
                <c:pt idx="971">
                  <c:v>2.0802999999999998</c:v>
                </c:pt>
                <c:pt idx="972">
                  <c:v>2.081</c:v>
                </c:pt>
                <c:pt idx="973">
                  <c:v>2.085</c:v>
                </c:pt>
                <c:pt idx="974">
                  <c:v>#N/A</c:v>
                </c:pt>
                <c:pt idx="975">
                  <c:v>2.0950000000000002</c:v>
                </c:pt>
                <c:pt idx="976">
                  <c:v>2.1080000000000001</c:v>
                </c:pt>
                <c:pt idx="977">
                  <c:v>2.1280000000000001</c:v>
                </c:pt>
                <c:pt idx="978">
                  <c:v>2.14</c:v>
                </c:pt>
                <c:pt idx="979">
                  <c:v>2.1539999999999999</c:v>
                </c:pt>
                <c:pt idx="980">
                  <c:v>2.1589999999999998</c:v>
                </c:pt>
                <c:pt idx="981">
                  <c:v>2.1669999999999998</c:v>
                </c:pt>
                <c:pt idx="982">
                  <c:v>2.1680000000000001</c:v>
                </c:pt>
                <c:pt idx="983">
                  <c:v>2.1667999999999998</c:v>
                </c:pt>
                <c:pt idx="984">
                  <c:v>#N/A</c:v>
                </c:pt>
                <c:pt idx="985">
                  <c:v>2.1640000000000001</c:v>
                </c:pt>
                <c:pt idx="986">
                  <c:v>2.1659999999999999</c:v>
                </c:pt>
                <c:pt idx="987">
                  <c:v>2.1779999999999999</c:v>
                </c:pt>
                <c:pt idx="988">
                  <c:v>2.1880000000000002</c:v>
                </c:pt>
                <c:pt idx="989">
                  <c:v>2.327</c:v>
                </c:pt>
                <c:pt idx="990">
                  <c:v>2.1749999999999998</c:v>
                </c:pt>
                <c:pt idx="991">
                  <c:v>2.1619999999999999</c:v>
                </c:pt>
                <c:pt idx="992">
                  <c:v>2.153</c:v>
                </c:pt>
                <c:pt idx="993">
                  <c:v>2.15</c:v>
                </c:pt>
                <c:pt idx="994">
                  <c:v>2.1509999999999998</c:v>
                </c:pt>
                <c:pt idx="995">
                  <c:v>2.153</c:v>
                </c:pt>
                <c:pt idx="996">
                  <c:v>#N/A</c:v>
                </c:pt>
                <c:pt idx="997">
                  <c:v>2.1589999999999998</c:v>
                </c:pt>
                <c:pt idx="998">
                  <c:v>2.173</c:v>
                </c:pt>
                <c:pt idx="999">
                  <c:v>2.1960000000000002</c:v>
                </c:pt>
                <c:pt idx="1000">
                  <c:v>2.2080000000000002</c:v>
                </c:pt>
                <c:pt idx="1001">
                  <c:v>2.222</c:v>
                </c:pt>
                <c:pt idx="1002">
                  <c:v>#N/A</c:v>
                </c:pt>
                <c:pt idx="1003">
                  <c:v>2.2309999999999999</c:v>
                </c:pt>
                <c:pt idx="1004">
                  <c:v>2.238</c:v>
                </c:pt>
                <c:pt idx="1005">
                  <c:v>2.2480000000000002</c:v>
                </c:pt>
                <c:pt idx="1006">
                  <c:v>2.254</c:v>
                </c:pt>
                <c:pt idx="1007">
                  <c:v>2.254</c:v>
                </c:pt>
                <c:pt idx="1008">
                  <c:v>#N/A</c:v>
                </c:pt>
                <c:pt idx="1009">
                  <c:v>2.2530000000000001</c:v>
                </c:pt>
                <c:pt idx="1010">
                  <c:v>2.2519999999999998</c:v>
                </c:pt>
                <c:pt idx="1011">
                  <c:v>2.2492000000000001</c:v>
                </c:pt>
                <c:pt idx="1012">
                  <c:v>2.2450000000000001</c:v>
                </c:pt>
                <c:pt idx="1013">
                  <c:v>2.2320000000000002</c:v>
                </c:pt>
                <c:pt idx="1014">
                  <c:v>#N/A</c:v>
                </c:pt>
                <c:pt idx="1015">
                  <c:v>2.206</c:v>
                </c:pt>
                <c:pt idx="1016">
                  <c:v>2.1869999999999998</c:v>
                </c:pt>
                <c:pt idx="1017">
                  <c:v>2.1819999999999999</c:v>
                </c:pt>
                <c:pt idx="1018">
                  <c:v>2.1960000000000002</c:v>
                </c:pt>
                <c:pt idx="1019">
                  <c:v>2.2109999999999999</c:v>
                </c:pt>
                <c:pt idx="1020">
                  <c:v>#N/A</c:v>
                </c:pt>
                <c:pt idx="1021">
                  <c:v>2.2309999999999999</c:v>
                </c:pt>
                <c:pt idx="1022">
                  <c:v>2.2469999999999999</c:v>
                </c:pt>
                <c:pt idx="1023">
                  <c:v>2.2570000000000001</c:v>
                </c:pt>
                <c:pt idx="1024">
                  <c:v>2.2589999999999999</c:v>
                </c:pt>
                <c:pt idx="1025">
                  <c:v>2.2650000000000001</c:v>
                </c:pt>
                <c:pt idx="1026">
                  <c:v>#N/A</c:v>
                </c:pt>
                <c:pt idx="1027">
                  <c:v>2.2709999999999999</c:v>
                </c:pt>
                <c:pt idx="1028">
                  <c:v>2.2730000000000001</c:v>
                </c:pt>
                <c:pt idx="1029">
                  <c:v>2.2770000000000001</c:v>
                </c:pt>
                <c:pt idx="1030">
                  <c:v>2.282</c:v>
                </c:pt>
                <c:pt idx="1031">
                  <c:v>2.2890000000000001</c:v>
                </c:pt>
                <c:pt idx="1032">
                  <c:v>#N/A</c:v>
                </c:pt>
                <c:pt idx="1033">
                  <c:v>2.298</c:v>
                </c:pt>
                <c:pt idx="1034">
                  <c:v>2.302</c:v>
                </c:pt>
                <c:pt idx="1035">
                  <c:v>2.3159999999999989</c:v>
                </c:pt>
                <c:pt idx="1036">
                  <c:v>2.3250000000000002</c:v>
                </c:pt>
                <c:pt idx="1037">
                  <c:v>2.319999999999999</c:v>
                </c:pt>
                <c:pt idx="1038">
                  <c:v>#N/A</c:v>
                </c:pt>
                <c:pt idx="1039">
                  <c:v>2.3079999999999998</c:v>
                </c:pt>
                <c:pt idx="1040">
                  <c:v>2.2989999999999999</c:v>
                </c:pt>
                <c:pt idx="1041">
                  <c:v>2.2919999999999998</c:v>
                </c:pt>
                <c:pt idx="1042">
                  <c:v>2.2907999999999999</c:v>
                </c:pt>
                <c:pt idx="1043">
                  <c:v>2.2925</c:v>
                </c:pt>
                <c:pt idx="1044">
                  <c:v>#N/A</c:v>
                </c:pt>
                <c:pt idx="1045">
                  <c:v>2.2919999999999998</c:v>
                </c:pt>
                <c:pt idx="1046">
                  <c:v>2.2959999999999998</c:v>
                </c:pt>
                <c:pt idx="1047">
                  <c:v>2.2999999999999998</c:v>
                </c:pt>
                <c:pt idx="1048">
                  <c:v>2.3109999999999991</c:v>
                </c:pt>
                <c:pt idx="1049">
                  <c:v>2.33</c:v>
                </c:pt>
                <c:pt idx="1050">
                  <c:v>#N/A</c:v>
                </c:pt>
                <c:pt idx="1051">
                  <c:v>2.3349999999999991</c:v>
                </c:pt>
                <c:pt idx="1052">
                  <c:v>2.3450000000000002</c:v>
                </c:pt>
                <c:pt idx="1053">
                  <c:v>2.3450000000000002</c:v>
                </c:pt>
                <c:pt idx="1054">
                  <c:v>2.3410000000000002</c:v>
                </c:pt>
                <c:pt idx="1055">
                  <c:v>2.323</c:v>
                </c:pt>
                <c:pt idx="1056">
                  <c:v>#N/A</c:v>
                </c:pt>
                <c:pt idx="1057">
                  <c:v>2.294</c:v>
                </c:pt>
                <c:pt idx="1058">
                  <c:v>2.2639999999999998</c:v>
                </c:pt>
                <c:pt idx="1059">
                  <c:v>2.246</c:v>
                </c:pt>
                <c:pt idx="1060">
                  <c:v>2.2269999999999999</c:v>
                </c:pt>
                <c:pt idx="1061">
                  <c:v>2.23</c:v>
                </c:pt>
                <c:pt idx="1062">
                  <c:v>#N/A</c:v>
                </c:pt>
                <c:pt idx="1063">
                  <c:v>#N/A</c:v>
                </c:pt>
                <c:pt idx="1064">
                  <c:v>2.2090000000000001</c:v>
                </c:pt>
                <c:pt idx="1065">
                  <c:v>2.1720000000000002</c:v>
                </c:pt>
                <c:pt idx="1066">
                  <c:v>2.13</c:v>
                </c:pt>
                <c:pt idx="1067">
                  <c:v>2.1120000000000001</c:v>
                </c:pt>
                <c:pt idx="1068">
                  <c:v>#N/A</c:v>
                </c:pt>
                <c:pt idx="1069">
                  <c:v>2.0939999999999999</c:v>
                </c:pt>
                <c:pt idx="1070">
                  <c:v>2.0960000000000001</c:v>
                </c:pt>
                <c:pt idx="1071">
                  <c:v>2.1040000000000001</c:v>
                </c:pt>
                <c:pt idx="1072">
                  <c:v>2.1030000000000002</c:v>
                </c:pt>
                <c:pt idx="1073">
                  <c:v>2.1040000000000001</c:v>
                </c:pt>
                <c:pt idx="1074">
                  <c:v>#N/A</c:v>
                </c:pt>
                <c:pt idx="1075">
                  <c:v>2.1419999999999999</c:v>
                </c:pt>
                <c:pt idx="1076">
                  <c:v>2.2563</c:v>
                </c:pt>
                <c:pt idx="1077">
                  <c:v>2.3279999999999998</c:v>
                </c:pt>
                <c:pt idx="1078">
                  <c:v>2.3639999999999999</c:v>
                </c:pt>
                <c:pt idx="1079">
                  <c:v>2.375999999999999</c:v>
                </c:pt>
                <c:pt idx="1080">
                  <c:v>2.1890000000000001</c:v>
                </c:pt>
                <c:pt idx="1081">
                  <c:v>2.1749999999999998</c:v>
                </c:pt>
                <c:pt idx="1082">
                  <c:v>2.1640000000000001</c:v>
                </c:pt>
                <c:pt idx="1083">
                  <c:v>2.165</c:v>
                </c:pt>
                <c:pt idx="1084">
                  <c:v>2.5293000000000001</c:v>
                </c:pt>
                <c:pt idx="1085">
                  <c:v>#N/A</c:v>
                </c:pt>
                <c:pt idx="1086">
                  <c:v>2.218</c:v>
                </c:pt>
                <c:pt idx="1087">
                  <c:v>#N/A</c:v>
                </c:pt>
                <c:pt idx="1088">
                  <c:v>2.278</c:v>
                </c:pt>
                <c:pt idx="1089">
                  <c:v>2.2810000000000001</c:v>
                </c:pt>
                <c:pt idx="1090">
                  <c:v>2.2765</c:v>
                </c:pt>
                <c:pt idx="1091">
                  <c:v>2.2719999999999998</c:v>
                </c:pt>
                <c:pt idx="1092">
                  <c:v>2.2677999999999998</c:v>
                </c:pt>
                <c:pt idx="1093">
                  <c:v>#N/A</c:v>
                </c:pt>
                <c:pt idx="1094">
                  <c:v>2.2639999999999998</c:v>
                </c:pt>
                <c:pt idx="1095">
                  <c:v>2.2610000000000001</c:v>
                </c:pt>
                <c:pt idx="1096">
                  <c:v>2.2658</c:v>
                </c:pt>
                <c:pt idx="1097">
                  <c:v>2.3330000000000002</c:v>
                </c:pt>
                <c:pt idx="1098">
                  <c:v>2.36</c:v>
                </c:pt>
                <c:pt idx="1099">
                  <c:v>#N/A</c:v>
                </c:pt>
                <c:pt idx="1100">
                  <c:v>2.4085999999999999</c:v>
                </c:pt>
                <c:pt idx="1101">
                  <c:v>2.4830000000000001</c:v>
                </c:pt>
                <c:pt idx="1102">
                  <c:v>2.4845000000000002</c:v>
                </c:pt>
                <c:pt idx="1103">
                  <c:v>2.5270999999999999</c:v>
                </c:pt>
                <c:pt idx="1104">
                  <c:v>2.4756</c:v>
                </c:pt>
                <c:pt idx="1105">
                  <c:v>#N/A</c:v>
                </c:pt>
                <c:pt idx="1106">
                  <c:v>2.4338000000000002</c:v>
                </c:pt>
                <c:pt idx="1107">
                  <c:v>2.492999999999999</c:v>
                </c:pt>
                <c:pt idx="1108">
                  <c:v>2.4943</c:v>
                </c:pt>
                <c:pt idx="1109">
                  <c:v>2.4611000000000001</c:v>
                </c:pt>
                <c:pt idx="1110">
                  <c:v>2.3690000000000002</c:v>
                </c:pt>
                <c:pt idx="1111">
                  <c:v>#N/A</c:v>
                </c:pt>
                <c:pt idx="1112">
                  <c:v>2.4033000000000002</c:v>
                </c:pt>
                <c:pt idx="1113">
                  <c:v>2.4041000000000001</c:v>
                </c:pt>
                <c:pt idx="1114">
                  <c:v>2.406099999999999</c:v>
                </c:pt>
                <c:pt idx="1115">
                  <c:v>2.4076</c:v>
                </c:pt>
                <c:pt idx="1116">
                  <c:v>2.401899999999999</c:v>
                </c:pt>
                <c:pt idx="1117">
                  <c:v>#N/A</c:v>
                </c:pt>
                <c:pt idx="1118">
                  <c:v>2.379</c:v>
                </c:pt>
                <c:pt idx="1119">
                  <c:v>2.3761000000000001</c:v>
                </c:pt>
                <c:pt idx="1120">
                  <c:v>2.3868999999999989</c:v>
                </c:pt>
                <c:pt idx="1121">
                  <c:v>2.4409999999999998</c:v>
                </c:pt>
                <c:pt idx="1122">
                  <c:v>2.633</c:v>
                </c:pt>
                <c:pt idx="1123">
                  <c:v>#N/A</c:v>
                </c:pt>
                <c:pt idx="1124">
                  <c:v>2.632499999999999</c:v>
                </c:pt>
                <c:pt idx="1125">
                  <c:v>2.6476999999999999</c:v>
                </c:pt>
                <c:pt idx="1126">
                  <c:v>2.6507000000000001</c:v>
                </c:pt>
                <c:pt idx="1127">
                  <c:v>2.657</c:v>
                </c:pt>
                <c:pt idx="1128">
                  <c:v>2.6040000000000001</c:v>
                </c:pt>
                <c:pt idx="1129">
                  <c:v>#N/A</c:v>
                </c:pt>
                <c:pt idx="1130">
                  <c:v>2.4820000000000002</c:v>
                </c:pt>
                <c:pt idx="1131">
                  <c:v>2.448</c:v>
                </c:pt>
                <c:pt idx="1132">
                  <c:v>2.5209999999999999</c:v>
                </c:pt>
                <c:pt idx="1133">
                  <c:v>2.5070000000000001</c:v>
                </c:pt>
                <c:pt idx="1134">
                  <c:v>2.5384000000000002</c:v>
                </c:pt>
                <c:pt idx="1135">
                  <c:v>#N/A</c:v>
                </c:pt>
                <c:pt idx="1136">
                  <c:v>2.4868000000000001</c:v>
                </c:pt>
                <c:pt idx="1137">
                  <c:v>2.536999999999999</c:v>
                </c:pt>
                <c:pt idx="1138">
                  <c:v>2.4956999999999989</c:v>
                </c:pt>
                <c:pt idx="1139">
                  <c:v>#N/A</c:v>
                </c:pt>
                <c:pt idx="1140">
                  <c:v>2.4420000000000002</c:v>
                </c:pt>
                <c:pt idx="1141">
                  <c:v>2.4079999999999999</c:v>
                </c:pt>
                <c:pt idx="1142">
                  <c:v>2.3885000000000001</c:v>
                </c:pt>
                <c:pt idx="1143">
                  <c:v>2.4129999999999989</c:v>
                </c:pt>
                <c:pt idx="1144">
                  <c:v>2.4289999999999998</c:v>
                </c:pt>
                <c:pt idx="1145">
                  <c:v>#N/A</c:v>
                </c:pt>
                <c:pt idx="1146">
                  <c:v>2.444</c:v>
                </c:pt>
                <c:pt idx="1147">
                  <c:v>2.4860000000000002</c:v>
                </c:pt>
                <c:pt idx="1148">
                  <c:v>2.5750000000000002</c:v>
                </c:pt>
                <c:pt idx="1149">
                  <c:v>2.5987</c:v>
                </c:pt>
                <c:pt idx="1150">
                  <c:v>2.616299999999999</c:v>
                </c:pt>
                <c:pt idx="1151">
                  <c:v>#N/A</c:v>
                </c:pt>
                <c:pt idx="1152">
                  <c:v>2.7157</c:v>
                </c:pt>
                <c:pt idx="1153">
                  <c:v>2.7513999999999998</c:v>
                </c:pt>
                <c:pt idx="1154">
                  <c:v>2.7589999999999999</c:v>
                </c:pt>
                <c:pt idx="1155">
                  <c:v>2.7919999999999998</c:v>
                </c:pt>
                <c:pt idx="1156">
                  <c:v>2.8189999999999991</c:v>
                </c:pt>
                <c:pt idx="1157">
                  <c:v>#N/A</c:v>
                </c:pt>
                <c:pt idx="1158">
                  <c:v>2.817499999999999</c:v>
                </c:pt>
                <c:pt idx="1159">
                  <c:v>2.8451</c:v>
                </c:pt>
                <c:pt idx="1160">
                  <c:v>2.8506</c:v>
                </c:pt>
                <c:pt idx="1161">
                  <c:v>2.8347999999999991</c:v>
                </c:pt>
                <c:pt idx="1162">
                  <c:v>#N/A</c:v>
                </c:pt>
                <c:pt idx="1163">
                  <c:v>2.8180000000000001</c:v>
                </c:pt>
                <c:pt idx="1164">
                  <c:v>2.8199000000000001</c:v>
                </c:pt>
                <c:pt idx="1165">
                  <c:v>2.827</c:v>
                </c:pt>
                <c:pt idx="1166">
                  <c:v>2.8130000000000002</c:v>
                </c:pt>
                <c:pt idx="1167">
                  <c:v>2.7911000000000001</c:v>
                </c:pt>
                <c:pt idx="1168">
                  <c:v>#N/A</c:v>
                </c:pt>
                <c:pt idx="1169">
                  <c:v>2.7160000000000002</c:v>
                </c:pt>
                <c:pt idx="1170">
                  <c:v>2.746</c:v>
                </c:pt>
                <c:pt idx="1171">
                  <c:v>2.7524999999999991</c:v>
                </c:pt>
                <c:pt idx="1172">
                  <c:v>2.7641</c:v>
                </c:pt>
                <c:pt idx="1173">
                  <c:v>2.7149999999999999</c:v>
                </c:pt>
                <c:pt idx="1174">
                  <c:v>#N/A</c:v>
                </c:pt>
                <c:pt idx="1175">
                  <c:v>2.6745000000000001</c:v>
                </c:pt>
                <c:pt idx="1176">
                  <c:v>2.6539999999999999</c:v>
                </c:pt>
                <c:pt idx="1177">
                  <c:v>2.6230000000000002</c:v>
                </c:pt>
                <c:pt idx="1178">
                  <c:v>2.6110000000000002</c:v>
                </c:pt>
                <c:pt idx="1179">
                  <c:v>2.609</c:v>
                </c:pt>
                <c:pt idx="1180">
                  <c:v>#N/A</c:v>
                </c:pt>
                <c:pt idx="1181">
                  <c:v>2.636499999999999</c:v>
                </c:pt>
                <c:pt idx="1182">
                  <c:v>2.652499999999999</c:v>
                </c:pt>
                <c:pt idx="1183">
                  <c:v>2.7953000000000001</c:v>
                </c:pt>
                <c:pt idx="1184">
                  <c:v>#N/A</c:v>
                </c:pt>
                <c:pt idx="1185">
                  <c:v>2.8166999999999991</c:v>
                </c:pt>
                <c:pt idx="1186">
                  <c:v>2.841899999999999</c:v>
                </c:pt>
                <c:pt idx="1187">
                  <c:v>2.8090000000000002</c:v>
                </c:pt>
                <c:pt idx="1188">
                  <c:v>2.8199000000000001</c:v>
                </c:pt>
                <c:pt idx="1189">
                  <c:v>2.8275000000000001</c:v>
                </c:pt>
                <c:pt idx="1190">
                  <c:v>#N/A</c:v>
                </c:pt>
                <c:pt idx="1191">
                  <c:v>2.8302</c:v>
                </c:pt>
                <c:pt idx="1192">
                  <c:v>2.831999999999999</c:v>
                </c:pt>
                <c:pt idx="1193">
                  <c:v>2.8250000000000002</c:v>
                </c:pt>
                <c:pt idx="1194">
                  <c:v>2.8317000000000001</c:v>
                </c:pt>
                <c:pt idx="1195">
                  <c:v>2.8527999999999989</c:v>
                </c:pt>
                <c:pt idx="1196">
                  <c:v>#N/A</c:v>
                </c:pt>
                <c:pt idx="1197">
                  <c:v>2.8635000000000002</c:v>
                </c:pt>
                <c:pt idx="1198">
                  <c:v>2.8776000000000002</c:v>
                </c:pt>
                <c:pt idx="1199">
                  <c:v>2.8889999999999998</c:v>
                </c:pt>
                <c:pt idx="1200">
                  <c:v>2.8690000000000002</c:v>
                </c:pt>
                <c:pt idx="1201">
                  <c:v>2.81</c:v>
                </c:pt>
                <c:pt idx="1202">
                  <c:v>#N/A</c:v>
                </c:pt>
                <c:pt idx="1203">
                  <c:v>2.7170000000000001</c:v>
                </c:pt>
                <c:pt idx="1204">
                  <c:v>2.6259999999999999</c:v>
                </c:pt>
                <c:pt idx="1205">
                  <c:v>2.5596000000000001</c:v>
                </c:pt>
                <c:pt idx="1206">
                  <c:v>2.5390000000000001</c:v>
                </c:pt>
                <c:pt idx="1207">
                  <c:v>2.6179999999999999</c:v>
                </c:pt>
                <c:pt idx="1208">
                  <c:v>#N/A</c:v>
                </c:pt>
                <c:pt idx="1209">
                  <c:v>2.72</c:v>
                </c:pt>
                <c:pt idx="1210">
                  <c:v>2.6897000000000002</c:v>
                </c:pt>
                <c:pt idx="1211">
                  <c:v>2.5830000000000002</c:v>
                </c:pt>
                <c:pt idx="1212">
                  <c:v>2.5472999999999999</c:v>
                </c:pt>
                <c:pt idx="1213">
                  <c:v>2.532999999999999</c:v>
                </c:pt>
                <c:pt idx="1214">
                  <c:v>#N/A</c:v>
                </c:pt>
                <c:pt idx="1215">
                  <c:v>2.5489999999999999</c:v>
                </c:pt>
                <c:pt idx="1216">
                  <c:v>2.621</c:v>
                </c:pt>
                <c:pt idx="1217">
                  <c:v>2.6459999999999999</c:v>
                </c:pt>
                <c:pt idx="1218">
                  <c:v>2.6589999999999998</c:v>
                </c:pt>
                <c:pt idx="1219">
                  <c:v>2.6269999999999998</c:v>
                </c:pt>
                <c:pt idx="1220">
                  <c:v>#N/A</c:v>
                </c:pt>
                <c:pt idx="1221">
                  <c:v>2.6328999999999989</c:v>
                </c:pt>
                <c:pt idx="1222">
                  <c:v>2.7010000000000001</c:v>
                </c:pt>
                <c:pt idx="1223">
                  <c:v>2.722</c:v>
                </c:pt>
                <c:pt idx="1224">
                  <c:v>2.7534000000000001</c:v>
                </c:pt>
                <c:pt idx="1225">
                  <c:v>2.7330000000000001</c:v>
                </c:pt>
                <c:pt idx="1226">
                  <c:v>#N/A</c:v>
                </c:pt>
                <c:pt idx="1227">
                  <c:v>2.7080000000000002</c:v>
                </c:pt>
                <c:pt idx="1228">
                  <c:v>2.7147000000000001</c:v>
                </c:pt>
                <c:pt idx="1229">
                  <c:v>2.7250000000000001</c:v>
                </c:pt>
                <c:pt idx="1230">
                  <c:v>2.786</c:v>
                </c:pt>
                <c:pt idx="1231">
                  <c:v>2.815199999999999</c:v>
                </c:pt>
                <c:pt idx="1232">
                  <c:v>#N/A</c:v>
                </c:pt>
                <c:pt idx="1233">
                  <c:v>2.806</c:v>
                </c:pt>
                <c:pt idx="1234">
                  <c:v>2.809299999999999</c:v>
                </c:pt>
                <c:pt idx="1235">
                  <c:v>2.831999999999999</c:v>
                </c:pt>
                <c:pt idx="1236">
                  <c:v>2.8069999999999991</c:v>
                </c:pt>
                <c:pt idx="1237">
                  <c:v>2.7210000000000001</c:v>
                </c:pt>
                <c:pt idx="1238">
                  <c:v>#N/A</c:v>
                </c:pt>
                <c:pt idx="1239">
                  <c:v>2.7360000000000002</c:v>
                </c:pt>
                <c:pt idx="1240">
                  <c:v>2.7839999999999998</c:v>
                </c:pt>
                <c:pt idx="1241">
                  <c:v>2.8018000000000001</c:v>
                </c:pt>
                <c:pt idx="1242">
                  <c:v>2.7970000000000002</c:v>
                </c:pt>
                <c:pt idx="1243">
                  <c:v>2.79</c:v>
                </c:pt>
                <c:pt idx="1244">
                  <c:v>#N/A</c:v>
                </c:pt>
                <c:pt idx="1245">
                  <c:v>2.7743000000000002</c:v>
                </c:pt>
                <c:pt idx="1246">
                  <c:v>2.798</c:v>
                </c:pt>
                <c:pt idx="1247">
                  <c:v>2.821299999999999</c:v>
                </c:pt>
                <c:pt idx="1248">
                  <c:v>2.8351999999999991</c:v>
                </c:pt>
                <c:pt idx="1249">
                  <c:v>2.8355000000000001</c:v>
                </c:pt>
                <c:pt idx="1250">
                  <c:v>#N/A</c:v>
                </c:pt>
                <c:pt idx="1251">
                  <c:v>2.8481999999999998</c:v>
                </c:pt>
                <c:pt idx="1252">
                  <c:v>2.817099999999999</c:v>
                </c:pt>
                <c:pt idx="1253">
                  <c:v>2.8452999999999991</c:v>
                </c:pt>
                <c:pt idx="1254">
                  <c:v>2.8479000000000001</c:v>
                </c:pt>
                <c:pt idx="1255">
                  <c:v>2.8549999999999991</c:v>
                </c:pt>
                <c:pt idx="1256">
                  <c:v>#N/A</c:v>
                </c:pt>
                <c:pt idx="1257">
                  <c:v>2.8509999999999991</c:v>
                </c:pt>
                <c:pt idx="1258">
                  <c:v>2.9220000000000002</c:v>
                </c:pt>
                <c:pt idx="1259">
                  <c:v>2.9237000000000002</c:v>
                </c:pt>
                <c:pt idx="1260">
                  <c:v>2.8309999999999991</c:v>
                </c:pt>
                <c:pt idx="1261">
                  <c:v>2.8130000000000002</c:v>
                </c:pt>
                <c:pt idx="1262">
                  <c:v>#N/A</c:v>
                </c:pt>
                <c:pt idx="1263">
                  <c:v>2.75</c:v>
                </c:pt>
                <c:pt idx="1264">
                  <c:v>2.665</c:v>
                </c:pt>
                <c:pt idx="1265">
                  <c:v>2.641</c:v>
                </c:pt>
                <c:pt idx="1266">
                  <c:v>2.6406000000000001</c:v>
                </c:pt>
                <c:pt idx="1267">
                  <c:v>2.6360000000000001</c:v>
                </c:pt>
                <c:pt idx="1268">
                  <c:v>#N/A</c:v>
                </c:pt>
                <c:pt idx="1269">
                  <c:v>2.6440000000000001</c:v>
                </c:pt>
                <c:pt idx="1270">
                  <c:v>2.6482999999999999</c:v>
                </c:pt>
                <c:pt idx="1271">
                  <c:v>2.65</c:v>
                </c:pt>
                <c:pt idx="1272">
                  <c:v>2.681</c:v>
                </c:pt>
                <c:pt idx="1273">
                  <c:v>2.6958000000000002</c:v>
                </c:pt>
                <c:pt idx="1274">
                  <c:v>#N/A</c:v>
                </c:pt>
                <c:pt idx="1275">
                  <c:v>2.7559999999999998</c:v>
                </c:pt>
                <c:pt idx="1276">
                  <c:v>2.831999999999999</c:v>
                </c:pt>
                <c:pt idx="1277">
                  <c:v>2.79</c:v>
                </c:pt>
                <c:pt idx="1278">
                  <c:v>2.805699999999999</c:v>
                </c:pt>
                <c:pt idx="1279">
                  <c:v>2.7559999999999998</c:v>
                </c:pt>
                <c:pt idx="1280">
                  <c:v>#N/A</c:v>
                </c:pt>
                <c:pt idx="1281">
                  <c:v>2.758</c:v>
                </c:pt>
                <c:pt idx="1282">
                  <c:v>2.8370000000000002</c:v>
                </c:pt>
                <c:pt idx="1283">
                  <c:v>2.863</c:v>
                </c:pt>
                <c:pt idx="1284">
                  <c:v>2.9169999999999989</c:v>
                </c:pt>
                <c:pt idx="1285">
                  <c:v>2.8039999999999998</c:v>
                </c:pt>
                <c:pt idx="1286">
                  <c:v>#N/A</c:v>
                </c:pt>
                <c:pt idx="1287">
                  <c:v>2.74</c:v>
                </c:pt>
                <c:pt idx="1288">
                  <c:v>2.738</c:v>
                </c:pt>
                <c:pt idx="1289">
                  <c:v>2.7410000000000001</c:v>
                </c:pt>
                <c:pt idx="1290">
                  <c:v>2.657</c:v>
                </c:pt>
                <c:pt idx="1291">
                  <c:v>2.605</c:v>
                </c:pt>
                <c:pt idx="1292">
                  <c:v>#N/A</c:v>
                </c:pt>
                <c:pt idx="1293">
                  <c:v>2.5939999999999999</c:v>
                </c:pt>
                <c:pt idx="1294">
                  <c:v>2.6002999999999998</c:v>
                </c:pt>
                <c:pt idx="1295">
                  <c:v>2.5960000000000001</c:v>
                </c:pt>
                <c:pt idx="1296">
                  <c:v>2.5920000000000001</c:v>
                </c:pt>
                <c:pt idx="1297">
                  <c:v>2.5781999999999998</c:v>
                </c:pt>
                <c:pt idx="1298">
                  <c:v>#N/A</c:v>
                </c:pt>
                <c:pt idx="1299">
                  <c:v>2.6160000000000001</c:v>
                </c:pt>
                <c:pt idx="1300">
                  <c:v>2.6339999999999999</c:v>
                </c:pt>
                <c:pt idx="1301">
                  <c:v>2.6640000000000001</c:v>
                </c:pt>
                <c:pt idx="1302">
                  <c:v>2.6937000000000002</c:v>
                </c:pt>
                <c:pt idx="1303">
                  <c:v>2.7181000000000002</c:v>
                </c:pt>
                <c:pt idx="1304">
                  <c:v>#N/A</c:v>
                </c:pt>
                <c:pt idx="1305">
                  <c:v>2.72</c:v>
                </c:pt>
                <c:pt idx="1306">
                  <c:v>2.7360000000000002</c:v>
                </c:pt>
                <c:pt idx="1307">
                  <c:v>2.7389999999999999</c:v>
                </c:pt>
                <c:pt idx="1308">
                  <c:v>2.6259999999999999</c:v>
                </c:pt>
                <c:pt idx="1309">
                  <c:v>2.5771999999999999</c:v>
                </c:pt>
                <c:pt idx="1310">
                  <c:v>#N/A</c:v>
                </c:pt>
                <c:pt idx="1311">
                  <c:v>2.512</c:v>
                </c:pt>
                <c:pt idx="1312">
                  <c:v>2.552</c:v>
                </c:pt>
                <c:pt idx="1313">
                  <c:v>2.5950000000000002</c:v>
                </c:pt>
                <c:pt idx="1314">
                  <c:v>2.6459999999999999</c:v>
                </c:pt>
                <c:pt idx="1315">
                  <c:v>2.7170000000000001</c:v>
                </c:pt>
                <c:pt idx="1316">
                  <c:v>#N/A</c:v>
                </c:pt>
                <c:pt idx="1317">
                  <c:v>2.7869999999999999</c:v>
                </c:pt>
                <c:pt idx="1318">
                  <c:v>2.827</c:v>
                </c:pt>
                <c:pt idx="1319">
                  <c:v>2.806</c:v>
                </c:pt>
                <c:pt idx="1320">
                  <c:v>2.8</c:v>
                </c:pt>
                <c:pt idx="1321">
                  <c:v>2.738</c:v>
                </c:pt>
                <c:pt idx="1322">
                  <c:v>#N/A</c:v>
                </c:pt>
                <c:pt idx="1323">
                  <c:v>2.786</c:v>
                </c:pt>
                <c:pt idx="1324">
                  <c:v>2.8079999999999998</c:v>
                </c:pt>
                <c:pt idx="1325">
                  <c:v>2.8090000000000002</c:v>
                </c:pt>
                <c:pt idx="1326">
                  <c:v>2.802999999999999</c:v>
                </c:pt>
                <c:pt idx="1327">
                  <c:v>2.7970000000000002</c:v>
                </c:pt>
                <c:pt idx="1328">
                  <c:v>#N/A</c:v>
                </c:pt>
                <c:pt idx="1329">
                  <c:v>2.8189999999999991</c:v>
                </c:pt>
                <c:pt idx="1330">
                  <c:v>2.7989999999999999</c:v>
                </c:pt>
                <c:pt idx="1331">
                  <c:v>2.6829999999999998</c:v>
                </c:pt>
                <c:pt idx="1332">
                  <c:v>2.7879999999999998</c:v>
                </c:pt>
                <c:pt idx="1333">
                  <c:v>2.6419999999999999</c:v>
                </c:pt>
                <c:pt idx="1334">
                  <c:v>#N/A</c:v>
                </c:pt>
                <c:pt idx="1335">
                  <c:v>2.6</c:v>
                </c:pt>
                <c:pt idx="1336">
                  <c:v>2.5790000000000002</c:v>
                </c:pt>
                <c:pt idx="1337">
                  <c:v>2.573</c:v>
                </c:pt>
                <c:pt idx="1338">
                  <c:v>2.585</c:v>
                </c:pt>
                <c:pt idx="1339">
                  <c:v>2.6080000000000001</c:v>
                </c:pt>
                <c:pt idx="1340">
                  <c:v>#N/A</c:v>
                </c:pt>
                <c:pt idx="1341">
                  <c:v>2.6880000000000002</c:v>
                </c:pt>
                <c:pt idx="1342">
                  <c:v>2.726</c:v>
                </c:pt>
                <c:pt idx="1343">
                  <c:v>2.7879999999999998</c:v>
                </c:pt>
                <c:pt idx="1344">
                  <c:v>2.802999999999999</c:v>
                </c:pt>
                <c:pt idx="1345">
                  <c:v>2.7240000000000002</c:v>
                </c:pt>
                <c:pt idx="1346">
                  <c:v>#N/A</c:v>
                </c:pt>
                <c:pt idx="1347">
                  <c:v>2.7229999999999999</c:v>
                </c:pt>
                <c:pt idx="1348">
                  <c:v>2.7410000000000001</c:v>
                </c:pt>
                <c:pt idx="1349">
                  <c:v>2.73</c:v>
                </c:pt>
                <c:pt idx="1350">
                  <c:v>2.665</c:v>
                </c:pt>
                <c:pt idx="1351">
                  <c:v>2.6120000000000001</c:v>
                </c:pt>
                <c:pt idx="1352">
                  <c:v>#N/A</c:v>
                </c:pt>
                <c:pt idx="1353">
                  <c:v>2.569</c:v>
                </c:pt>
                <c:pt idx="1354">
                  <c:v>2.589</c:v>
                </c:pt>
                <c:pt idx="1355">
                  <c:v>2.6659999999999999</c:v>
                </c:pt>
                <c:pt idx="1356">
                  <c:v>2.6720000000000002</c:v>
                </c:pt>
                <c:pt idx="1357">
                  <c:v>2.84</c:v>
                </c:pt>
                <c:pt idx="1358">
                  <c:v>#N/A</c:v>
                </c:pt>
                <c:pt idx="1359">
                  <c:v>#N/A</c:v>
                </c:pt>
                <c:pt idx="1360">
                  <c:v>2.657</c:v>
                </c:pt>
                <c:pt idx="1361">
                  <c:v>2.5634999999999999</c:v>
                </c:pt>
                <c:pt idx="1362">
                  <c:v>2.5049999999999999</c:v>
                </c:pt>
                <c:pt idx="1363">
                  <c:v>2.484</c:v>
                </c:pt>
                <c:pt idx="1364">
                  <c:v>#N/A</c:v>
                </c:pt>
                <c:pt idx="1365">
                  <c:v>2.4609999999999999</c:v>
                </c:pt>
                <c:pt idx="1366">
                  <c:v>2.5289999999999999</c:v>
                </c:pt>
                <c:pt idx="1367">
                  <c:v>2.6429999999999998</c:v>
                </c:pt>
                <c:pt idx="1368">
                  <c:v>2.831999999999999</c:v>
                </c:pt>
                <c:pt idx="1369">
                  <c:v>2.83</c:v>
                </c:pt>
                <c:pt idx="1370">
                  <c:v>#N/A</c:v>
                </c:pt>
                <c:pt idx="1371">
                  <c:v>2.794</c:v>
                </c:pt>
                <c:pt idx="1372">
                  <c:v>2.7850000000000001</c:v>
                </c:pt>
                <c:pt idx="1373">
                  <c:v>2.7650000000000001</c:v>
                </c:pt>
                <c:pt idx="1374">
                  <c:v>2.7654999999999998</c:v>
                </c:pt>
                <c:pt idx="1375">
                  <c:v>2.835999999999999</c:v>
                </c:pt>
                <c:pt idx="1376">
                  <c:v>#N/A</c:v>
                </c:pt>
                <c:pt idx="1377">
                  <c:v>2.7709999999999999</c:v>
                </c:pt>
                <c:pt idx="1378">
                  <c:v>2.6019999999999999</c:v>
                </c:pt>
                <c:pt idx="1379">
                  <c:v>2.5739999999999998</c:v>
                </c:pt>
                <c:pt idx="1380">
                  <c:v>2.5634000000000001</c:v>
                </c:pt>
                <c:pt idx="1381">
                  <c:v>2.5506000000000002</c:v>
                </c:pt>
                <c:pt idx="1382">
                  <c:v>#N/A</c:v>
                </c:pt>
                <c:pt idx="1383">
                  <c:v>2.5659999999999998</c:v>
                </c:pt>
                <c:pt idx="1384">
                  <c:v>2.5539999999999998</c:v>
                </c:pt>
                <c:pt idx="1385">
                  <c:v>2.5939999999999999</c:v>
                </c:pt>
                <c:pt idx="1386">
                  <c:v>2.5154000000000001</c:v>
                </c:pt>
                <c:pt idx="1387">
                  <c:v>2.5173000000000001</c:v>
                </c:pt>
                <c:pt idx="1388">
                  <c:v>#N/A</c:v>
                </c:pt>
                <c:pt idx="1389">
                  <c:v>2.5305</c:v>
                </c:pt>
                <c:pt idx="1390">
                  <c:v>2.5390000000000001</c:v>
                </c:pt>
                <c:pt idx="1391">
                  <c:v>2.5710000000000002</c:v>
                </c:pt>
                <c:pt idx="1392">
                  <c:v>2.5720000000000001</c:v>
                </c:pt>
                <c:pt idx="1393">
                  <c:v>2.589</c:v>
                </c:pt>
                <c:pt idx="1394">
                  <c:v>2.6080000000000001</c:v>
                </c:pt>
                <c:pt idx="1395">
                  <c:v>2.585</c:v>
                </c:pt>
                <c:pt idx="1396">
                  <c:v>2.5870000000000002</c:v>
                </c:pt>
                <c:pt idx="1397">
                  <c:v>2.7229999999999999</c:v>
                </c:pt>
                <c:pt idx="1398">
                  <c:v>#N/A</c:v>
                </c:pt>
                <c:pt idx="1399">
                  <c:v>2.6309999999999998</c:v>
                </c:pt>
                <c:pt idx="1400">
                  <c:v>2.597</c:v>
                </c:pt>
                <c:pt idx="1401">
                  <c:v>#N/A</c:v>
                </c:pt>
                <c:pt idx="1402">
                  <c:v>2.5710000000000002</c:v>
                </c:pt>
                <c:pt idx="1403">
                  <c:v>2.5609999999999999</c:v>
                </c:pt>
                <c:pt idx="1404">
                  <c:v>2.7080000000000002</c:v>
                </c:pt>
                <c:pt idx="1405">
                  <c:v>2.6909999999999998</c:v>
                </c:pt>
                <c:pt idx="1406">
                  <c:v>2.7730000000000001</c:v>
                </c:pt>
                <c:pt idx="1407">
                  <c:v>#N/A</c:v>
                </c:pt>
                <c:pt idx="1408">
                  <c:v>2.6520000000000001</c:v>
                </c:pt>
                <c:pt idx="1409">
                  <c:v>2.617</c:v>
                </c:pt>
                <c:pt idx="1410">
                  <c:v>2.5920000000000001</c:v>
                </c:pt>
                <c:pt idx="1411">
                  <c:v>2.57</c:v>
                </c:pt>
                <c:pt idx="1412">
                  <c:v>2.573</c:v>
                </c:pt>
                <c:pt idx="1413">
                  <c:v>#N/A</c:v>
                </c:pt>
                <c:pt idx="1414">
                  <c:v>2.5859999999999999</c:v>
                </c:pt>
                <c:pt idx="1415">
                  <c:v>2.637</c:v>
                </c:pt>
                <c:pt idx="1416">
                  <c:v>2.633</c:v>
                </c:pt>
                <c:pt idx="1417">
                  <c:v>2.6320000000000001</c:v>
                </c:pt>
                <c:pt idx="1418">
                  <c:v>2.5859999999999999</c:v>
                </c:pt>
                <c:pt idx="1419">
                  <c:v>#N/A</c:v>
                </c:pt>
                <c:pt idx="1420">
                  <c:v>2.5609999999999999</c:v>
                </c:pt>
                <c:pt idx="1421">
                  <c:v>2.5579999999999998</c:v>
                </c:pt>
                <c:pt idx="1422">
                  <c:v>2.5590000000000002</c:v>
                </c:pt>
                <c:pt idx="1423">
                  <c:v>2.5489999999999999</c:v>
                </c:pt>
                <c:pt idx="1424">
                  <c:v>2.5449999999999999</c:v>
                </c:pt>
                <c:pt idx="1425">
                  <c:v>#N/A</c:v>
                </c:pt>
                <c:pt idx="1426">
                  <c:v>2.5430000000000001</c:v>
                </c:pt>
                <c:pt idx="1427">
                  <c:v>2.5935000000000001</c:v>
                </c:pt>
                <c:pt idx="1428">
                  <c:v>2.5920000000000001</c:v>
                </c:pt>
                <c:pt idx="1429">
                  <c:v>2.581</c:v>
                </c:pt>
                <c:pt idx="1430">
                  <c:v>2.69</c:v>
                </c:pt>
                <c:pt idx="1431">
                  <c:v>#N/A</c:v>
                </c:pt>
                <c:pt idx="1432">
                  <c:v>2.6219999999999999</c:v>
                </c:pt>
                <c:pt idx="1433">
                  <c:v>2.5739999999999998</c:v>
                </c:pt>
                <c:pt idx="1434">
                  <c:v>2.4689999999999999</c:v>
                </c:pt>
                <c:pt idx="1435">
                  <c:v>2.4460000000000002</c:v>
                </c:pt>
                <c:pt idx="1436">
                  <c:v>2.528</c:v>
                </c:pt>
                <c:pt idx="1437">
                  <c:v>2.5510000000000002</c:v>
                </c:pt>
                <c:pt idx="1438">
                  <c:v>2.5609999999999999</c:v>
                </c:pt>
                <c:pt idx="1439">
                  <c:v>2.5569999999999991</c:v>
                </c:pt>
                <c:pt idx="1440">
                  <c:v>2.5569999999999991</c:v>
                </c:pt>
                <c:pt idx="1441">
                  <c:v>#N/A</c:v>
                </c:pt>
                <c:pt idx="1442">
                  <c:v>2.5819999999999999</c:v>
                </c:pt>
                <c:pt idx="1443">
                  <c:v>2.665</c:v>
                </c:pt>
                <c:pt idx="1444">
                  <c:v>2.6789999999999998</c:v>
                </c:pt>
                <c:pt idx="1445">
                  <c:v>2.7330000000000001</c:v>
                </c:pt>
                <c:pt idx="1446">
                  <c:v>2.7469999999999999</c:v>
                </c:pt>
                <c:pt idx="1447">
                  <c:v>#N/A</c:v>
                </c:pt>
                <c:pt idx="1448">
                  <c:v>2.7240000000000002</c:v>
                </c:pt>
                <c:pt idx="1449">
                  <c:v>2.7360000000000002</c:v>
                </c:pt>
                <c:pt idx="1450">
                  <c:v>2.7280000000000002</c:v>
                </c:pt>
                <c:pt idx="1451">
                  <c:v>2.7650000000000001</c:v>
                </c:pt>
                <c:pt idx="1452">
                  <c:v>2.9209999999999998</c:v>
                </c:pt>
                <c:pt idx="1453">
                  <c:v>#N/A</c:v>
                </c:pt>
                <c:pt idx="1454">
                  <c:v>2.72</c:v>
                </c:pt>
                <c:pt idx="1455">
                  <c:v>2.681</c:v>
                </c:pt>
                <c:pt idx="1456">
                  <c:v>2.5939999999999999</c:v>
                </c:pt>
                <c:pt idx="1457">
                  <c:v>#N/A</c:v>
                </c:pt>
                <c:pt idx="1458">
                  <c:v>2.5819999999999999</c:v>
                </c:pt>
                <c:pt idx="1459">
                  <c:v>2.5750000000000002</c:v>
                </c:pt>
                <c:pt idx="1460">
                  <c:v>2.52</c:v>
                </c:pt>
                <c:pt idx="1461">
                  <c:v>2.5089999999999999</c:v>
                </c:pt>
                <c:pt idx="1462">
                  <c:v>2.4870000000000001</c:v>
                </c:pt>
                <c:pt idx="1463">
                  <c:v>#N/A</c:v>
                </c:pt>
                <c:pt idx="1464">
                  <c:v>2.58</c:v>
                </c:pt>
                <c:pt idx="1465">
                  <c:v>2.641</c:v>
                </c:pt>
                <c:pt idx="1466">
                  <c:v>2.766</c:v>
                </c:pt>
                <c:pt idx="1467">
                  <c:v>2.597</c:v>
                </c:pt>
                <c:pt idx="1468">
                  <c:v>2.5630000000000002</c:v>
                </c:pt>
                <c:pt idx="1469">
                  <c:v>#N/A</c:v>
                </c:pt>
                <c:pt idx="1470">
                  <c:v>2.5270000000000001</c:v>
                </c:pt>
                <c:pt idx="1471">
                  <c:v>2.5249999999999999</c:v>
                </c:pt>
                <c:pt idx="1472">
                  <c:v>2.5299999999999998</c:v>
                </c:pt>
                <c:pt idx="1473">
                  <c:v>2.5299999999999998</c:v>
                </c:pt>
                <c:pt idx="1474">
                  <c:v>2.528</c:v>
                </c:pt>
                <c:pt idx="1475">
                  <c:v>#N/A</c:v>
                </c:pt>
                <c:pt idx="1476">
                  <c:v>2.532999999999999</c:v>
                </c:pt>
                <c:pt idx="1477">
                  <c:v>2.742</c:v>
                </c:pt>
                <c:pt idx="1478">
                  <c:v>2.8839999999999999</c:v>
                </c:pt>
                <c:pt idx="1479">
                  <c:v>2.8309999999999991</c:v>
                </c:pt>
                <c:pt idx="1480">
                  <c:v>2.8010000000000002</c:v>
                </c:pt>
                <c:pt idx="1481">
                  <c:v>#N/A</c:v>
                </c:pt>
                <c:pt idx="1482">
                  <c:v>2.5990000000000002</c:v>
                </c:pt>
                <c:pt idx="1483">
                  <c:v>2.5840000000000001</c:v>
                </c:pt>
                <c:pt idx="1484">
                  <c:v>2.5619999999999998</c:v>
                </c:pt>
                <c:pt idx="1485">
                  <c:v>2.5550000000000002</c:v>
                </c:pt>
                <c:pt idx="1486">
                  <c:v>2.5630000000000002</c:v>
                </c:pt>
                <c:pt idx="1487">
                  <c:v>#N/A</c:v>
                </c:pt>
                <c:pt idx="1488">
                  <c:v>2.573</c:v>
                </c:pt>
                <c:pt idx="1489">
                  <c:v>2.5840000000000001</c:v>
                </c:pt>
                <c:pt idx="1490">
                  <c:v>2.589</c:v>
                </c:pt>
                <c:pt idx="1491">
                  <c:v>2.5910000000000002</c:v>
                </c:pt>
                <c:pt idx="1492">
                  <c:v>2.5920000000000001</c:v>
                </c:pt>
                <c:pt idx="1493">
                  <c:v>#N/A</c:v>
                </c:pt>
                <c:pt idx="1494">
                  <c:v>2.59</c:v>
                </c:pt>
                <c:pt idx="1495">
                  <c:v>2.6190000000000002</c:v>
                </c:pt>
                <c:pt idx="1496">
                  <c:v>2.593</c:v>
                </c:pt>
                <c:pt idx="1497">
                  <c:v>2.5859999999999999</c:v>
                </c:pt>
                <c:pt idx="1498">
                  <c:v>#N/A</c:v>
                </c:pt>
                <c:pt idx="1499">
                  <c:v>2.5640000000000001</c:v>
                </c:pt>
                <c:pt idx="1500">
                  <c:v>2.5179999999999998</c:v>
                </c:pt>
                <c:pt idx="1501">
                  <c:v>2.4449999999999998</c:v>
                </c:pt>
                <c:pt idx="1502">
                  <c:v>2.2890000000000001</c:v>
                </c:pt>
                <c:pt idx="1503">
                  <c:v>2.6280000000000001</c:v>
                </c:pt>
                <c:pt idx="1504">
                  <c:v>#N/A</c:v>
                </c:pt>
                <c:pt idx="1505">
                  <c:v>#N/A</c:v>
                </c:pt>
                <c:pt idx="1506">
                  <c:v>2.5190000000000001</c:v>
                </c:pt>
                <c:pt idx="1507">
                  <c:v>2.42</c:v>
                </c:pt>
                <c:pt idx="1508">
                  <c:v>2.1989999999999998</c:v>
                </c:pt>
                <c:pt idx="1509">
                  <c:v>2.1320000000000001</c:v>
                </c:pt>
                <c:pt idx="1510">
                  <c:v>1.9670000000000001</c:v>
                </c:pt>
                <c:pt idx="1511">
                  <c:v>#N/A</c:v>
                </c:pt>
                <c:pt idx="1512">
                  <c:v>1.9910000000000001</c:v>
                </c:pt>
                <c:pt idx="1513">
                  <c:v>2.3079999999999998</c:v>
                </c:pt>
                <c:pt idx="1514">
                  <c:v>2.4060000000000001</c:v>
                </c:pt>
                <c:pt idx="1515">
                  <c:v>2.4870000000000001</c:v>
                </c:pt>
                <c:pt idx="1516">
                  <c:v>2.48</c:v>
                </c:pt>
                <c:pt idx="1517">
                  <c:v>#N/A</c:v>
                </c:pt>
                <c:pt idx="1518">
                  <c:v>2.5569999999999991</c:v>
                </c:pt>
                <c:pt idx="1519">
                  <c:v>2.5910000000000002</c:v>
                </c:pt>
                <c:pt idx="1520">
                  <c:v>2.5249999999999999</c:v>
                </c:pt>
                <c:pt idx="1521">
                  <c:v>2.415999999999999</c:v>
                </c:pt>
                <c:pt idx="1522">
                  <c:v>2.3460000000000001</c:v>
                </c:pt>
                <c:pt idx="1523">
                  <c:v>#N/A</c:v>
                </c:pt>
                <c:pt idx="1524">
                  <c:v>2.3620000000000001</c:v>
                </c:pt>
                <c:pt idx="1525">
                  <c:v>2.3530000000000002</c:v>
                </c:pt>
                <c:pt idx="1526">
                  <c:v>2.3490000000000002</c:v>
                </c:pt>
                <c:pt idx="1527">
                  <c:v>2.3210000000000002</c:v>
                </c:pt>
                <c:pt idx="1528">
                  <c:v>2.2839999999999998</c:v>
                </c:pt>
                <c:pt idx="1529">
                  <c:v>#N/A</c:v>
                </c:pt>
                <c:pt idx="1530">
                  <c:v>2.198</c:v>
                </c:pt>
                <c:pt idx="1531">
                  <c:v>2.0659999999999998</c:v>
                </c:pt>
                <c:pt idx="1532">
                  <c:v>2.028</c:v>
                </c:pt>
                <c:pt idx="1533">
                  <c:v>1.97</c:v>
                </c:pt>
                <c:pt idx="1534">
                  <c:v>1.849</c:v>
                </c:pt>
                <c:pt idx="1535">
                  <c:v>#N/A</c:v>
                </c:pt>
                <c:pt idx="1536">
                  <c:v>1.819</c:v>
                </c:pt>
                <c:pt idx="1537">
                  <c:v>1.613</c:v>
                </c:pt>
                <c:pt idx="1538">
                  <c:v>1.421999999999999</c:v>
                </c:pt>
                <c:pt idx="1539">
                  <c:v>1.6220000000000001</c:v>
                </c:pt>
                <c:pt idx="1540">
                  <c:v>1.8260000000000001</c:v>
                </c:pt>
                <c:pt idx="1541">
                  <c:v>#N/A</c:v>
                </c:pt>
                <c:pt idx="1542">
                  <c:v>2.113</c:v>
                </c:pt>
                <c:pt idx="1543">
                  <c:v>2.3279999999999998</c:v>
                </c:pt>
                <c:pt idx="1544">
                  <c:v>2.3450000000000002</c:v>
                </c:pt>
                <c:pt idx="1545">
                  <c:v>2.5110000000000001</c:v>
                </c:pt>
                <c:pt idx="1546">
                  <c:v>2.58</c:v>
                </c:pt>
                <c:pt idx="1547">
                  <c:v>#N/A</c:v>
                </c:pt>
                <c:pt idx="1548">
                  <c:v>2.625</c:v>
                </c:pt>
                <c:pt idx="1549">
                  <c:v>2.6360000000000001</c:v>
                </c:pt>
                <c:pt idx="1550">
                  <c:v>2.5379999999999998</c:v>
                </c:pt>
                <c:pt idx="1551">
                  <c:v>2.4540000000000002</c:v>
                </c:pt>
                <c:pt idx="1552">
                  <c:v>2.391999999999999</c:v>
                </c:pt>
                <c:pt idx="1553">
                  <c:v>#N/A</c:v>
                </c:pt>
                <c:pt idx="1554">
                  <c:v>2.44</c:v>
                </c:pt>
                <c:pt idx="1555">
                  <c:v>2.4255</c:v>
                </c:pt>
                <c:pt idx="1556">
                  <c:v>2.3895</c:v>
                </c:pt>
                <c:pt idx="1557">
                  <c:v>2.2770000000000001</c:v>
                </c:pt>
                <c:pt idx="1558">
                  <c:v>2.3090000000000002</c:v>
                </c:pt>
                <c:pt idx="1559">
                  <c:v>#N/A</c:v>
                </c:pt>
                <c:pt idx="1560">
                  <c:v>2.2770000000000001</c:v>
                </c:pt>
                <c:pt idx="1561">
                  <c:v>2.1949999999999998</c:v>
                </c:pt>
                <c:pt idx="1562">
                  <c:v>2.1640000000000001</c:v>
                </c:pt>
                <c:pt idx="1563">
                  <c:v>2.4940000000000002</c:v>
                </c:pt>
                <c:pt idx="1564">
                  <c:v>2.5910000000000002</c:v>
                </c:pt>
                <c:pt idx="1565">
                  <c:v>#N/A</c:v>
                </c:pt>
                <c:pt idx="1566">
                  <c:v>2.573</c:v>
                </c:pt>
                <c:pt idx="1567">
                  <c:v>2.59</c:v>
                </c:pt>
                <c:pt idx="1568">
                  <c:v>2.5569999999999991</c:v>
                </c:pt>
                <c:pt idx="1569">
                  <c:v>2.5299999999999998</c:v>
                </c:pt>
                <c:pt idx="1570">
                  <c:v>2.4889999999999999</c:v>
                </c:pt>
                <c:pt idx="1571">
                  <c:v>#N/A</c:v>
                </c:pt>
                <c:pt idx="1572">
                  <c:v>2.4660000000000002</c:v>
                </c:pt>
                <c:pt idx="1573">
                  <c:v>2.6539999999999999</c:v>
                </c:pt>
                <c:pt idx="1574">
                  <c:v>2.5619999999999998</c:v>
                </c:pt>
                <c:pt idx="1575">
                  <c:v>2.5190000000000001</c:v>
                </c:pt>
                <c:pt idx="1576">
                  <c:v>2.5139999999999998</c:v>
                </c:pt>
                <c:pt idx="1577">
                  <c:v>#N/A</c:v>
                </c:pt>
                <c:pt idx="1578">
                  <c:v>2.5430000000000001</c:v>
                </c:pt>
                <c:pt idx="1579">
                  <c:v>2.552999999999999</c:v>
                </c:pt>
                <c:pt idx="1580">
                  <c:v>2.46</c:v>
                </c:pt>
                <c:pt idx="1581">
                  <c:v>2.4449999999999998</c:v>
                </c:pt>
                <c:pt idx="1582">
                  <c:v>#N/A</c:v>
                </c:pt>
                <c:pt idx="1583">
                  <c:v>2.536</c:v>
                </c:pt>
                <c:pt idx="1584">
                  <c:v>2.5019999999999998</c:v>
                </c:pt>
                <c:pt idx="1585">
                  <c:v>2.3980000000000001</c:v>
                </c:pt>
                <c:pt idx="1586">
                  <c:v>2.36</c:v>
                </c:pt>
                <c:pt idx="1587">
                  <c:v>2.4390000000000001</c:v>
                </c:pt>
                <c:pt idx="1588">
                  <c:v>#N/A</c:v>
                </c:pt>
                <c:pt idx="1589">
                  <c:v>2.3769999999999989</c:v>
                </c:pt>
                <c:pt idx="1590">
                  <c:v>2.3730000000000002</c:v>
                </c:pt>
                <c:pt idx="1591">
                  <c:v>2.3530000000000002</c:v>
                </c:pt>
                <c:pt idx="1592">
                  <c:v>2.427</c:v>
                </c:pt>
                <c:pt idx="1593">
                  <c:v>2.4449999999999998</c:v>
                </c:pt>
                <c:pt idx="1594">
                  <c:v>#N/A</c:v>
                </c:pt>
                <c:pt idx="1595">
                  <c:v>2.4750000000000001</c:v>
                </c:pt>
                <c:pt idx="1596">
                  <c:v>2.4510000000000001</c:v>
                </c:pt>
                <c:pt idx="1597">
                  <c:v>2.3929999999999989</c:v>
                </c:pt>
                <c:pt idx="1598">
                  <c:v>2.2149999999999999</c:v>
                </c:pt>
                <c:pt idx="1599">
                  <c:v>2.0670000000000002</c:v>
                </c:pt>
                <c:pt idx="1600">
                  <c:v>#N/A</c:v>
                </c:pt>
                <c:pt idx="1601">
                  <c:v>1.8520000000000001</c:v>
                </c:pt>
                <c:pt idx="1602">
                  <c:v>1.5660000000000001</c:v>
                </c:pt>
                <c:pt idx="1603">
                  <c:v>2.37</c:v>
                </c:pt>
                <c:pt idx="1604">
                  <c:v>2.5470000000000002</c:v>
                </c:pt>
                <c:pt idx="1605">
                  <c:v>2.476999999999999</c:v>
                </c:pt>
                <c:pt idx="1606">
                  <c:v>#N/A</c:v>
                </c:pt>
                <c:pt idx="1607">
                  <c:v>2.434499999999999</c:v>
                </c:pt>
                <c:pt idx="1608">
                  <c:v>2.27</c:v>
                </c:pt>
                <c:pt idx="1609">
                  <c:v>2.0905999999999998</c:v>
                </c:pt>
                <c:pt idx="1610">
                  <c:v>1.978</c:v>
                </c:pt>
                <c:pt idx="1611">
                  <c:v>2.0379999999999998</c:v>
                </c:pt>
                <c:pt idx="1612">
                  <c:v>#N/A</c:v>
                </c:pt>
                <c:pt idx="1613">
                  <c:v>2.3090000000000002</c:v>
                </c:pt>
                <c:pt idx="1614">
                  <c:v>2.468</c:v>
                </c:pt>
                <c:pt idx="1615">
                  <c:v>2.3250000000000002</c:v>
                </c:pt>
                <c:pt idx="1616">
                  <c:v>2.3389999999999991</c:v>
                </c:pt>
                <c:pt idx="1617">
                  <c:v>2.3450000000000002</c:v>
                </c:pt>
                <c:pt idx="1618">
                  <c:v>#N/A</c:v>
                </c:pt>
                <c:pt idx="1619">
                  <c:v>2.5510000000000002</c:v>
                </c:pt>
                <c:pt idx="1620">
                  <c:v>2.609</c:v>
                </c:pt>
                <c:pt idx="1621">
                  <c:v>2.5790000000000002</c:v>
                </c:pt>
                <c:pt idx="1622">
                  <c:v>2.4559999999999991</c:v>
                </c:pt>
                <c:pt idx="1623">
                  <c:v>2.355999999999999</c:v>
                </c:pt>
                <c:pt idx="1624">
                  <c:v>#N/A</c:v>
                </c:pt>
                <c:pt idx="1625">
                  <c:v>2.4980000000000002</c:v>
                </c:pt>
                <c:pt idx="1626">
                  <c:v>2.556</c:v>
                </c:pt>
                <c:pt idx="1627">
                  <c:v>2.5390000000000001</c:v>
                </c:pt>
                <c:pt idx="1628">
                  <c:v>2.262</c:v>
                </c:pt>
                <c:pt idx="1629">
                  <c:v>2.6419999999999999</c:v>
                </c:pt>
                <c:pt idx="1630">
                  <c:v>#N/A</c:v>
                </c:pt>
                <c:pt idx="1631">
                  <c:v>2.5150000000000001</c:v>
                </c:pt>
                <c:pt idx="1632">
                  <c:v>2.4449999999999998</c:v>
                </c:pt>
                <c:pt idx="1633">
                  <c:v>2.2669999999999999</c:v>
                </c:pt>
                <c:pt idx="1634">
                  <c:v>2.4180000000000001</c:v>
                </c:pt>
                <c:pt idx="1635">
                  <c:v>2.415999999999999</c:v>
                </c:pt>
                <c:pt idx="1636">
                  <c:v>#N/A</c:v>
                </c:pt>
                <c:pt idx="1637">
                  <c:v>2.452999999999999</c:v>
                </c:pt>
                <c:pt idx="1638">
                  <c:v>2.4630000000000001</c:v>
                </c:pt>
                <c:pt idx="1639">
                  <c:v>2.4239999999999999</c:v>
                </c:pt>
                <c:pt idx="1640">
                  <c:v>2.5190000000000001</c:v>
                </c:pt>
                <c:pt idx="1641">
                  <c:v>2.6549999999999998</c:v>
                </c:pt>
                <c:pt idx="1642">
                  <c:v>#N/A</c:v>
                </c:pt>
                <c:pt idx="1643">
                  <c:v>2.625</c:v>
                </c:pt>
                <c:pt idx="1644">
                  <c:v>2.669</c:v>
                </c:pt>
                <c:pt idx="1645">
                  <c:v>2.6539999999999999</c:v>
                </c:pt>
                <c:pt idx="1646">
                  <c:v>2.5670000000000002</c:v>
                </c:pt>
                <c:pt idx="1647">
                  <c:v>2.4860000000000002</c:v>
                </c:pt>
                <c:pt idx="1648">
                  <c:v>#N/A</c:v>
                </c:pt>
                <c:pt idx="1649">
                  <c:v>2.3159999999999989</c:v>
                </c:pt>
                <c:pt idx="1650">
                  <c:v>2.028</c:v>
                </c:pt>
                <c:pt idx="1651">
                  <c:v>2.0289999999999999</c:v>
                </c:pt>
                <c:pt idx="1652">
                  <c:v>1.7929999999999999</c:v>
                </c:pt>
                <c:pt idx="1653">
                  <c:v>1.47</c:v>
                </c:pt>
                <c:pt idx="1654">
                  <c:v>#N/A</c:v>
                </c:pt>
                <c:pt idx="1655">
                  <c:v>#N/A</c:v>
                </c:pt>
                <c:pt idx="1656">
                  <c:v>2.2999999999999998</c:v>
                </c:pt>
                <c:pt idx="1657">
                  <c:v>1.968</c:v>
                </c:pt>
                <c:pt idx="1658">
                  <c:v>1.649</c:v>
                </c:pt>
                <c:pt idx="1659">
                  <c:v>#N/A</c:v>
                </c:pt>
                <c:pt idx="1660">
                  <c:v>1.4470000000000001</c:v>
                </c:pt>
                <c:pt idx="1661">
                  <c:v>1.413999999999999</c:v>
                </c:pt>
                <c:pt idx="1662">
                  <c:v>1.5669999999999999</c:v>
                </c:pt>
                <c:pt idx="1663">
                  <c:v>1.7430000000000001</c:v>
                </c:pt>
                <c:pt idx="1664">
                  <c:v>1.708</c:v>
                </c:pt>
                <c:pt idx="1665">
                  <c:v>#N/A</c:v>
                </c:pt>
                <c:pt idx="1666">
                  <c:v>1.8779999999999999</c:v>
                </c:pt>
                <c:pt idx="1667">
                  <c:v>2.2450000000000001</c:v>
                </c:pt>
                <c:pt idx="1668">
                  <c:v>2.306</c:v>
                </c:pt>
                <c:pt idx="1669">
                  <c:v>2.2589999999999999</c:v>
                </c:pt>
                <c:pt idx="1670">
                  <c:v>2.1785000000000001</c:v>
                </c:pt>
                <c:pt idx="1671">
                  <c:v>#N/A</c:v>
                </c:pt>
                <c:pt idx="1672">
                  <c:v>2.2400000000000002</c:v>
                </c:pt>
                <c:pt idx="1673">
                  <c:v>2.2429999999999999</c:v>
                </c:pt>
                <c:pt idx="1674">
                  <c:v>2.2440000000000002</c:v>
                </c:pt>
                <c:pt idx="1675">
                  <c:v>2.2629999999999999</c:v>
                </c:pt>
                <c:pt idx="1676">
                  <c:v>2.3620000000000001</c:v>
                </c:pt>
                <c:pt idx="1677">
                  <c:v>#N/A</c:v>
                </c:pt>
                <c:pt idx="1678">
                  <c:v>2.194</c:v>
                </c:pt>
                <c:pt idx="1679">
                  <c:v>2.0779999999999998</c:v>
                </c:pt>
                <c:pt idx="1680">
                  <c:v>2.0021</c:v>
                </c:pt>
                <c:pt idx="1681">
                  <c:v>2.238</c:v>
                </c:pt>
                <c:pt idx="1682">
                  <c:v>2.1</c:v>
                </c:pt>
                <c:pt idx="1683">
                  <c:v>#N/A</c:v>
                </c:pt>
                <c:pt idx="1684">
                  <c:v>2.2650000000000001</c:v>
                </c:pt>
                <c:pt idx="1685">
                  <c:v>2.016999999999999</c:v>
                </c:pt>
                <c:pt idx="1686">
                  <c:v>1.722</c:v>
                </c:pt>
                <c:pt idx="1687">
                  <c:v>1.7210000000000001</c:v>
                </c:pt>
                <c:pt idx="1688">
                  <c:v>1.7130000000000001</c:v>
                </c:pt>
                <c:pt idx="1689">
                  <c:v>#N/A</c:v>
                </c:pt>
                <c:pt idx="1690">
                  <c:v>1.8224</c:v>
                </c:pt>
                <c:pt idx="1691">
                  <c:v>1.9670000000000001</c:v>
                </c:pt>
                <c:pt idx="1692">
                  <c:v>1.8540000000000001</c:v>
                </c:pt>
                <c:pt idx="1693">
                  <c:v>2.0299999999999998</c:v>
                </c:pt>
                <c:pt idx="1694">
                  <c:v>2.431</c:v>
                </c:pt>
                <c:pt idx="1695">
                  <c:v>#N/A</c:v>
                </c:pt>
                <c:pt idx="1696">
                  <c:v>2.605</c:v>
                </c:pt>
                <c:pt idx="1697">
                  <c:v>2.7050000000000001</c:v>
                </c:pt>
                <c:pt idx="1698">
                  <c:v>2.6539999999999999</c:v>
                </c:pt>
                <c:pt idx="1699">
                  <c:v>2.5840000000000001</c:v>
                </c:pt>
                <c:pt idx="1700">
                  <c:v>2.1549999999999998</c:v>
                </c:pt>
                <c:pt idx="1701">
                  <c:v>#N/A</c:v>
                </c:pt>
                <c:pt idx="1702">
                  <c:v>1.9330000000000001</c:v>
                </c:pt>
                <c:pt idx="1703">
                  <c:v>2.266</c:v>
                </c:pt>
                <c:pt idx="1704">
                  <c:v>2.0739999999999998</c:v>
                </c:pt>
                <c:pt idx="1705">
                  <c:v>2.06</c:v>
                </c:pt>
                <c:pt idx="1706">
                  <c:v>2.0470000000000002</c:v>
                </c:pt>
                <c:pt idx="1707">
                  <c:v>#N/A</c:v>
                </c:pt>
                <c:pt idx="1708">
                  <c:v>2.0920000000000001</c:v>
                </c:pt>
                <c:pt idx="1709">
                  <c:v>2.3650000000000002</c:v>
                </c:pt>
                <c:pt idx="1710">
                  <c:v>2.0790000000000002</c:v>
                </c:pt>
                <c:pt idx="1711">
                  <c:v>2.31</c:v>
                </c:pt>
                <c:pt idx="1712">
                  <c:v>2.6549999999999998</c:v>
                </c:pt>
                <c:pt idx="1713">
                  <c:v>#N/A</c:v>
                </c:pt>
                <c:pt idx="1714">
                  <c:v>2.7559999999999998</c:v>
                </c:pt>
                <c:pt idx="1715">
                  <c:v>2.6659999999999999</c:v>
                </c:pt>
                <c:pt idx="1716">
                  <c:v>2.714</c:v>
                </c:pt>
                <c:pt idx="1717">
                  <c:v>2.661</c:v>
                </c:pt>
                <c:pt idx="1718">
                  <c:v>2.62</c:v>
                </c:pt>
                <c:pt idx="1719">
                  <c:v>#N/A</c:v>
                </c:pt>
                <c:pt idx="1720">
                  <c:v>2.5350000000000001</c:v>
                </c:pt>
                <c:pt idx="1721">
                  <c:v>2.4950000000000001</c:v>
                </c:pt>
                <c:pt idx="1722">
                  <c:v>2.286</c:v>
                </c:pt>
                <c:pt idx="1723">
                  <c:v>2.0409999999999999</c:v>
                </c:pt>
                <c:pt idx="1724">
                  <c:v>2.4860000000000002</c:v>
                </c:pt>
                <c:pt idx="1725">
                  <c:v>#N/A</c:v>
                </c:pt>
                <c:pt idx="1726">
                  <c:v>2.3149999999999991</c:v>
                </c:pt>
                <c:pt idx="1727">
                  <c:v>1.956</c:v>
                </c:pt>
                <c:pt idx="1728">
                  <c:v>1.663</c:v>
                </c:pt>
                <c:pt idx="1729">
                  <c:v>1.417</c:v>
                </c:pt>
                <c:pt idx="1730">
                  <c:v>#N/A</c:v>
                </c:pt>
                <c:pt idx="1731">
                  <c:v>1.427999999999999</c:v>
                </c:pt>
                <c:pt idx="1732">
                  <c:v>1.7969999999999999</c:v>
                </c:pt>
                <c:pt idx="1733">
                  <c:v>2.278</c:v>
                </c:pt>
                <c:pt idx="1734">
                  <c:v>2.7349999999999999</c:v>
                </c:pt>
                <c:pt idx="1735">
                  <c:v>2.6520000000000001</c:v>
                </c:pt>
                <c:pt idx="1736">
                  <c:v>#N/A</c:v>
                </c:pt>
                <c:pt idx="1737">
                  <c:v>2.7970000000000002</c:v>
                </c:pt>
                <c:pt idx="1738">
                  <c:v>2.883</c:v>
                </c:pt>
                <c:pt idx="1739">
                  <c:v>2.9980000000000002</c:v>
                </c:pt>
                <c:pt idx="1740">
                  <c:v>2.8119999999999989</c:v>
                </c:pt>
                <c:pt idx="1741">
                  <c:v>2.661</c:v>
                </c:pt>
                <c:pt idx="1742">
                  <c:v>#N/A</c:v>
                </c:pt>
                <c:pt idx="1743">
                  <c:v>2.5569999999999991</c:v>
                </c:pt>
                <c:pt idx="1744">
                  <c:v>2.8279999999999998</c:v>
                </c:pt>
                <c:pt idx="1745">
                  <c:v>2.7519999999999998</c:v>
                </c:pt>
                <c:pt idx="1746">
                  <c:v>2.7850000000000001</c:v>
                </c:pt>
                <c:pt idx="1747">
                  <c:v>2.496</c:v>
                </c:pt>
                <c:pt idx="1748">
                  <c:v>2.0699999999999998</c:v>
                </c:pt>
                <c:pt idx="1749">
                  <c:v>1.7</c:v>
                </c:pt>
                <c:pt idx="1750">
                  <c:v>2.0859999999999999</c:v>
                </c:pt>
                <c:pt idx="1751">
                  <c:v>1.79</c:v>
                </c:pt>
                <c:pt idx="1752">
                  <c:v>1.6419999999999999</c:v>
                </c:pt>
                <c:pt idx="1753">
                  <c:v>1.391</c:v>
                </c:pt>
                <c:pt idx="1754">
                  <c:v>1.141</c:v>
                </c:pt>
                <c:pt idx="1755">
                  <c:v>1.5129999999999999</c:v>
                </c:pt>
                <c:pt idx="1756">
                  <c:v>1.8260000000000001</c:v>
                </c:pt>
                <c:pt idx="1757">
                  <c:v>#N/A</c:v>
                </c:pt>
                <c:pt idx="1758">
                  <c:v>2.1560000000000001</c:v>
                </c:pt>
                <c:pt idx="1759">
                  <c:v>2.4123000000000001</c:v>
                </c:pt>
                <c:pt idx="1760">
                  <c:v>2.5333999999999999</c:v>
                </c:pt>
                <c:pt idx="1761">
                  <c:v>2.2810000000000001</c:v>
                </c:pt>
                <c:pt idx="1762">
                  <c:v>2.1339999999999999</c:v>
                </c:pt>
                <c:pt idx="1763">
                  <c:v>#N/A</c:v>
                </c:pt>
                <c:pt idx="1764">
                  <c:v>2.5844999999999998</c:v>
                </c:pt>
                <c:pt idx="1765">
                  <c:v>2.75</c:v>
                </c:pt>
                <c:pt idx="1766">
                  <c:v>2.6230000000000002</c:v>
                </c:pt>
                <c:pt idx="1767">
                  <c:v>2.5840000000000001</c:v>
                </c:pt>
                <c:pt idx="1768">
                  <c:v>2.3420000000000001</c:v>
                </c:pt>
                <c:pt idx="1769">
                  <c:v>#N/A</c:v>
                </c:pt>
                <c:pt idx="1770">
                  <c:v>2.6659999999999999</c:v>
                </c:pt>
                <c:pt idx="1771">
                  <c:v>2.76</c:v>
                </c:pt>
                <c:pt idx="1772">
                  <c:v>2.4910000000000001</c:v>
                </c:pt>
                <c:pt idx="1773">
                  <c:v>2.0670000000000002</c:v>
                </c:pt>
                <c:pt idx="1774">
                  <c:v>2.194</c:v>
                </c:pt>
                <c:pt idx="1775">
                  <c:v>#N/A</c:v>
                </c:pt>
                <c:pt idx="1776">
                  <c:v>2.0030000000000001</c:v>
                </c:pt>
                <c:pt idx="1777">
                  <c:v>1.738</c:v>
                </c:pt>
                <c:pt idx="1778">
                  <c:v>1.593</c:v>
                </c:pt>
                <c:pt idx="1779">
                  <c:v>1.5209999999999999</c:v>
                </c:pt>
                <c:pt idx="1780">
                  <c:v>#N/A</c:v>
                </c:pt>
                <c:pt idx="1781">
                  <c:v>1.8480000000000001</c:v>
                </c:pt>
                <c:pt idx="1782">
                  <c:v>2.052999999999999</c:v>
                </c:pt>
                <c:pt idx="1783">
                  <c:v>1.9390000000000001</c:v>
                </c:pt>
                <c:pt idx="1784">
                  <c:v>1.923999999999999</c:v>
                </c:pt>
                <c:pt idx="1785">
                  <c:v>1.7230000000000001</c:v>
                </c:pt>
                <c:pt idx="1786">
                  <c:v>#N/A</c:v>
                </c:pt>
                <c:pt idx="1787">
                  <c:v>1.8009999999999999</c:v>
                </c:pt>
                <c:pt idx="1788">
                  <c:v>1.601</c:v>
                </c:pt>
                <c:pt idx="1789">
                  <c:v>1.4470000000000001</c:v>
                </c:pt>
                <c:pt idx="1790">
                  <c:v>1.2529999999999999</c:v>
                </c:pt>
                <c:pt idx="1791">
                  <c:v>1.1120000000000001</c:v>
                </c:pt>
                <c:pt idx="1792">
                  <c:v>#N/A</c:v>
                </c:pt>
                <c:pt idx="1793">
                  <c:v>1</c:v>
                </c:pt>
                <c:pt idx="1794">
                  <c:v>1.0229999999999999</c:v>
                </c:pt>
                <c:pt idx="1795">
                  <c:v>0.99099999999999999</c:v>
                </c:pt>
                <c:pt idx="1796">
                  <c:v>0.96150000000000002</c:v>
                </c:pt>
                <c:pt idx="1797">
                  <c:v>1.3705000000000001</c:v>
                </c:pt>
                <c:pt idx="1798">
                  <c:v>#N/A</c:v>
                </c:pt>
                <c:pt idx="1799">
                  <c:v>1.0649999999999999</c:v>
                </c:pt>
                <c:pt idx="1800">
                  <c:v>0.91400000000000003</c:v>
                </c:pt>
                <c:pt idx="1801">
                  <c:v>0.877</c:v>
                </c:pt>
                <c:pt idx="1802">
                  <c:v>0.84399999999999997</c:v>
                </c:pt>
                <c:pt idx="1803">
                  <c:v>1.0549999999999999</c:v>
                </c:pt>
                <c:pt idx="1804">
                  <c:v>#N/A</c:v>
                </c:pt>
                <c:pt idx="1805">
                  <c:v>1.4450000000000001</c:v>
                </c:pt>
                <c:pt idx="1806">
                  <c:v>1.7729999999999999</c:v>
                </c:pt>
                <c:pt idx="1807">
                  <c:v>1.8140000000000001</c:v>
                </c:pt>
                <c:pt idx="1808">
                  <c:v>1.998</c:v>
                </c:pt>
                <c:pt idx="1809">
                  <c:v>2.2349999999999999</c:v>
                </c:pt>
                <c:pt idx="1810">
                  <c:v>#N/A</c:v>
                </c:pt>
                <c:pt idx="1811">
                  <c:v>2.6175000000000002</c:v>
                </c:pt>
                <c:pt idx="1812">
                  <c:v>2.7250000000000001</c:v>
                </c:pt>
                <c:pt idx="1813">
                  <c:v>2.7109999999999999</c:v>
                </c:pt>
                <c:pt idx="1814">
                  <c:v>2.7719999999999998</c:v>
                </c:pt>
                <c:pt idx="1815">
                  <c:v>2.827</c:v>
                </c:pt>
                <c:pt idx="1816">
                  <c:v>#N/A</c:v>
                </c:pt>
                <c:pt idx="1817">
                  <c:v>2.6698</c:v>
                </c:pt>
                <c:pt idx="1818">
                  <c:v>2.5619999999999998</c:v>
                </c:pt>
                <c:pt idx="1819">
                  <c:v>2.4809999999999999</c:v>
                </c:pt>
                <c:pt idx="1820">
                  <c:v>2.6280000000000001</c:v>
                </c:pt>
                <c:pt idx="1821">
                  <c:v>2.6360000000000001</c:v>
                </c:pt>
                <c:pt idx="1822">
                  <c:v>#N/A</c:v>
                </c:pt>
                <c:pt idx="1823">
                  <c:v>2.629</c:v>
                </c:pt>
                <c:pt idx="1824">
                  <c:v>2.621</c:v>
                </c:pt>
                <c:pt idx="1825">
                  <c:v>2.6419999999999999</c:v>
                </c:pt>
                <c:pt idx="1826">
                  <c:v>2.6339999999999999</c:v>
                </c:pt>
                <c:pt idx="1827">
                  <c:v>2.6339999999999999</c:v>
                </c:pt>
                <c:pt idx="1828">
                  <c:v>#N/A</c:v>
                </c:pt>
                <c:pt idx="1829">
                  <c:v>2.544</c:v>
                </c:pt>
                <c:pt idx="1830">
                  <c:v>2.2610000000000001</c:v>
                </c:pt>
                <c:pt idx="1831">
                  <c:v>2.2200000000000002</c:v>
                </c:pt>
                <c:pt idx="1832">
                  <c:v>2.5</c:v>
                </c:pt>
                <c:pt idx="1833">
                  <c:v>2.5960000000000001</c:v>
                </c:pt>
                <c:pt idx="1834">
                  <c:v>#N/A</c:v>
                </c:pt>
                <c:pt idx="1835">
                  <c:v>2.629</c:v>
                </c:pt>
                <c:pt idx="1836">
                  <c:v>2.6669999999999998</c:v>
                </c:pt>
                <c:pt idx="1837">
                  <c:v>2.6890000000000001</c:v>
                </c:pt>
                <c:pt idx="1838">
                  <c:v>2.6589999999999998</c:v>
                </c:pt>
                <c:pt idx="1839">
                  <c:v>2.665</c:v>
                </c:pt>
                <c:pt idx="1840">
                  <c:v>#N/A</c:v>
                </c:pt>
                <c:pt idx="1841">
                  <c:v>2.6659999999999999</c:v>
                </c:pt>
                <c:pt idx="1842">
                  <c:v>2.6419999999999999</c:v>
                </c:pt>
                <c:pt idx="1843">
                  <c:v>2.5832000000000002</c:v>
                </c:pt>
                <c:pt idx="1844">
                  <c:v>2.544</c:v>
                </c:pt>
                <c:pt idx="1845">
                  <c:v>2.5859999999999999</c:v>
                </c:pt>
                <c:pt idx="1846">
                  <c:v>#N/A</c:v>
                </c:pt>
                <c:pt idx="1847">
                  <c:v>2.6389999999999998</c:v>
                </c:pt>
                <c:pt idx="1848">
                  <c:v>2.677</c:v>
                </c:pt>
                <c:pt idx="1849">
                  <c:v>2.609</c:v>
                </c:pt>
                <c:pt idx="1850">
                  <c:v>2.4780000000000002</c:v>
                </c:pt>
                <c:pt idx="1851">
                  <c:v>2.5720000000000001</c:v>
                </c:pt>
                <c:pt idx="1852">
                  <c:v>#N/A</c:v>
                </c:pt>
                <c:pt idx="1853">
                  <c:v>2.5499999999999998</c:v>
                </c:pt>
                <c:pt idx="1854">
                  <c:v>2.512999999999999</c:v>
                </c:pt>
                <c:pt idx="1855">
                  <c:v>2.4449999999999998</c:v>
                </c:pt>
                <c:pt idx="1856">
                  <c:v>2.536</c:v>
                </c:pt>
                <c:pt idx="1857">
                  <c:v>2.597</c:v>
                </c:pt>
                <c:pt idx="1858">
                  <c:v>#N/A</c:v>
                </c:pt>
                <c:pt idx="1859">
                  <c:v>2.6070000000000002</c:v>
                </c:pt>
                <c:pt idx="1860">
                  <c:v>2.552999999999999</c:v>
                </c:pt>
                <c:pt idx="1861">
                  <c:v>2.4510000000000001</c:v>
                </c:pt>
                <c:pt idx="1862">
                  <c:v>2.3690000000000002</c:v>
                </c:pt>
                <c:pt idx="1863">
                  <c:v>#N/A</c:v>
                </c:pt>
                <c:pt idx="1864">
                  <c:v>2.335999999999999</c:v>
                </c:pt>
                <c:pt idx="1865">
                  <c:v>2.5649999999999999</c:v>
                </c:pt>
                <c:pt idx="1866">
                  <c:v>2.633</c:v>
                </c:pt>
                <c:pt idx="1867">
                  <c:v>2.7370000000000001</c:v>
                </c:pt>
                <c:pt idx="1868">
                  <c:v>2.746</c:v>
                </c:pt>
                <c:pt idx="1869">
                  <c:v>#N/A</c:v>
                </c:pt>
                <c:pt idx="1870">
                  <c:v>2.7589999999999999</c:v>
                </c:pt>
                <c:pt idx="1871">
                  <c:v>2.3690000000000002</c:v>
                </c:pt>
                <c:pt idx="1872">
                  <c:v>2.0459999999999998</c:v>
                </c:pt>
                <c:pt idx="1873">
                  <c:v>1.637</c:v>
                </c:pt>
                <c:pt idx="1874">
                  <c:v>1.3129999999999999</c:v>
                </c:pt>
                <c:pt idx="1875">
                  <c:v>1.2490000000000001</c:v>
                </c:pt>
                <c:pt idx="1876">
                  <c:v>2.6349999999999998</c:v>
                </c:pt>
                <c:pt idx="1877">
                  <c:v>#N/A</c:v>
                </c:pt>
                <c:pt idx="1878">
                  <c:v>2.6269999999999998</c:v>
                </c:pt>
                <c:pt idx="1879">
                  <c:v>2.202</c:v>
                </c:pt>
                <c:pt idx="1880">
                  <c:v>2.016</c:v>
                </c:pt>
                <c:pt idx="1881">
                  <c:v>1.911</c:v>
                </c:pt>
                <c:pt idx="1882">
                  <c:v>#N/A</c:v>
                </c:pt>
                <c:pt idx="1883">
                  <c:v>2.5550000000000002</c:v>
                </c:pt>
                <c:pt idx="1884">
                  <c:v>2.7029999999999998</c:v>
                </c:pt>
                <c:pt idx="1885">
                  <c:v>2.694</c:v>
                </c:pt>
                <c:pt idx="1886">
                  <c:v>2.585</c:v>
                </c:pt>
                <c:pt idx="1887">
                  <c:v>2.6179999999999999</c:v>
                </c:pt>
                <c:pt idx="1888">
                  <c:v>#N/A</c:v>
                </c:pt>
                <c:pt idx="1889">
                  <c:v>2.6819999999999999</c:v>
                </c:pt>
                <c:pt idx="1890">
                  <c:v>2.7989999999999999</c:v>
                </c:pt>
                <c:pt idx="1891">
                  <c:v>2.6539999999999999</c:v>
                </c:pt>
                <c:pt idx="1892">
                  <c:v>2.4460000000000002</c:v>
                </c:pt>
                <c:pt idx="1893">
                  <c:v>2.5059999999999998</c:v>
                </c:pt>
                <c:pt idx="1894">
                  <c:v>#N/A</c:v>
                </c:pt>
                <c:pt idx="1895">
                  <c:v>2.4780000000000002</c:v>
                </c:pt>
                <c:pt idx="1896">
                  <c:v>2.3679999999999999</c:v>
                </c:pt>
                <c:pt idx="1897">
                  <c:v>2.302999999999999</c:v>
                </c:pt>
                <c:pt idx="1898">
                  <c:v>2.59</c:v>
                </c:pt>
                <c:pt idx="1899">
                  <c:v>2.3010000000000002</c:v>
                </c:pt>
                <c:pt idx="1900">
                  <c:v>#N/A</c:v>
                </c:pt>
                <c:pt idx="1901">
                  <c:v>2.0750000000000002</c:v>
                </c:pt>
                <c:pt idx="1902">
                  <c:v>1.88</c:v>
                </c:pt>
                <c:pt idx="1903">
                  <c:v>1.788</c:v>
                </c:pt>
                <c:pt idx="1904">
                  <c:v>1.915</c:v>
                </c:pt>
                <c:pt idx="1905">
                  <c:v>1.901999999999999</c:v>
                </c:pt>
                <c:pt idx="1906">
                  <c:v>#N/A</c:v>
                </c:pt>
                <c:pt idx="1907">
                  <c:v>2.032999999999999</c:v>
                </c:pt>
                <c:pt idx="1908">
                  <c:v>2.375999999999999</c:v>
                </c:pt>
                <c:pt idx="1909">
                  <c:v>2.5979999999999999</c:v>
                </c:pt>
                <c:pt idx="1910">
                  <c:v>2.6659999999999999</c:v>
                </c:pt>
                <c:pt idx="1911">
                  <c:v>2.6930000000000001</c:v>
                </c:pt>
                <c:pt idx="1912">
                  <c:v>#N/A</c:v>
                </c:pt>
                <c:pt idx="1913">
                  <c:v>2.7069999999999999</c:v>
                </c:pt>
                <c:pt idx="1914">
                  <c:v>2.343</c:v>
                </c:pt>
                <c:pt idx="1915">
                  <c:v>1.899</c:v>
                </c:pt>
                <c:pt idx="1916">
                  <c:v>1.849</c:v>
                </c:pt>
                <c:pt idx="1917">
                  <c:v>1.948</c:v>
                </c:pt>
                <c:pt idx="1918">
                  <c:v>#N/A</c:v>
                </c:pt>
                <c:pt idx="1919">
                  <c:v>2.234</c:v>
                </c:pt>
                <c:pt idx="1920">
                  <c:v>2.323</c:v>
                </c:pt>
                <c:pt idx="1921">
                  <c:v>2.2330000000000001</c:v>
                </c:pt>
                <c:pt idx="1922">
                  <c:v>2.0779999999999998</c:v>
                </c:pt>
                <c:pt idx="1923">
                  <c:v>2.355999999999999</c:v>
                </c:pt>
                <c:pt idx="1924">
                  <c:v>#N/A</c:v>
                </c:pt>
                <c:pt idx="1925">
                  <c:v>2.2330000000000001</c:v>
                </c:pt>
                <c:pt idx="1926">
                  <c:v>2.1320000000000001</c:v>
                </c:pt>
                <c:pt idx="1927">
                  <c:v>1.9710000000000001</c:v>
                </c:pt>
                <c:pt idx="1928">
                  <c:v>1.905999999999999</c:v>
                </c:pt>
                <c:pt idx="1929">
                  <c:v>2.073</c:v>
                </c:pt>
                <c:pt idx="1930">
                  <c:v>#N/A</c:v>
                </c:pt>
                <c:pt idx="1931">
                  <c:v>2.3450000000000002</c:v>
                </c:pt>
                <c:pt idx="1932">
                  <c:v>2.198</c:v>
                </c:pt>
                <c:pt idx="1933">
                  <c:v>2.081</c:v>
                </c:pt>
                <c:pt idx="1934">
                  <c:v>2.052999999999999</c:v>
                </c:pt>
                <c:pt idx="1935">
                  <c:v>2.133</c:v>
                </c:pt>
                <c:pt idx="1936">
                  <c:v>#N/A</c:v>
                </c:pt>
                <c:pt idx="1937">
                  <c:v>2.4369999999999989</c:v>
                </c:pt>
                <c:pt idx="1938">
                  <c:v>2.5059999999999998</c:v>
                </c:pt>
                <c:pt idx="1939">
                  <c:v>2.4849999999999999</c:v>
                </c:pt>
                <c:pt idx="1940">
                  <c:v>2.0575000000000001</c:v>
                </c:pt>
                <c:pt idx="1941">
                  <c:v>1.8140000000000001</c:v>
                </c:pt>
                <c:pt idx="1942">
                  <c:v>#N/A</c:v>
                </c:pt>
                <c:pt idx="1943">
                  <c:v>1.5569999999999999</c:v>
                </c:pt>
                <c:pt idx="1944">
                  <c:v>1.1140000000000001</c:v>
                </c:pt>
                <c:pt idx="1945">
                  <c:v>0.94299999999999995</c:v>
                </c:pt>
                <c:pt idx="1946">
                  <c:v>0.84799999999999998</c:v>
                </c:pt>
                <c:pt idx="1947">
                  <c:v>1.075</c:v>
                </c:pt>
                <c:pt idx="1948">
                  <c:v>#N/A</c:v>
                </c:pt>
                <c:pt idx="1949">
                  <c:v>1.694</c:v>
                </c:pt>
                <c:pt idx="1950">
                  <c:v>#N/A</c:v>
                </c:pt>
                <c:pt idx="1951">
                  <c:v>1.4436</c:v>
                </c:pt>
                <c:pt idx="1952">
                  <c:v>1.1619999999999999</c:v>
                </c:pt>
                <c:pt idx="1953">
                  <c:v>#N/A</c:v>
                </c:pt>
                <c:pt idx="1954">
                  <c:v>1.0029999999999999</c:v>
                </c:pt>
                <c:pt idx="1955">
                  <c:v>1.2150000000000001</c:v>
                </c:pt>
                <c:pt idx="1956">
                  <c:v>1.5529999999999999</c:v>
                </c:pt>
                <c:pt idx="1957">
                  <c:v>1.69</c:v>
                </c:pt>
                <c:pt idx="1958">
                  <c:v>1.7722</c:v>
                </c:pt>
              </c:numCache>
            </c:numRef>
          </c:val>
          <c:smooth val="0"/>
          <c:extLst>
            <c:ext xmlns:c16="http://schemas.microsoft.com/office/drawing/2014/chart" uri="{C3380CC4-5D6E-409C-BE32-E72D297353CC}">
              <c16:uniqueId val="{00000001-4C95-4845-A899-39A43775F9CF}"/>
            </c:ext>
          </c:extLst>
        </c:ser>
        <c:dLbls>
          <c:showLegendKey val="0"/>
          <c:showVal val="0"/>
          <c:showCatName val="0"/>
          <c:showSerName val="0"/>
          <c:showPercent val="0"/>
          <c:showBubbleSize val="0"/>
        </c:dLbls>
        <c:smooth val="0"/>
        <c:axId val="1520753488"/>
        <c:axId val="1520755808"/>
      </c:lineChart>
      <c:dateAx>
        <c:axId val="1520753488"/>
        <c:scaling>
          <c:orientation val="minMax"/>
          <c:min val="41455"/>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1520755808"/>
        <c:crosses val="autoZero"/>
        <c:auto val="1"/>
        <c:lblOffset val="100"/>
        <c:baseTimeUnit val="days"/>
        <c:majorUnit val="12"/>
        <c:majorTimeUnit val="months"/>
        <c:minorUnit val="6"/>
        <c:minorTimeUnit val="months"/>
      </c:dateAx>
      <c:valAx>
        <c:axId val="1520755808"/>
        <c:scaling>
          <c:orientation val="minMax"/>
          <c:max val="8"/>
        </c:scaling>
        <c:delete val="0"/>
        <c:axPos val="l"/>
        <c:majorGridlines>
          <c:spPr>
            <a:ln w="9525" cap="flat" cmpd="sng" algn="ctr">
              <a:solidFill>
                <a:schemeClr val="tx1">
                  <a:lumMod val="15000"/>
                  <a:lumOff val="85000"/>
                </a:schemeClr>
              </a:solidFill>
              <a:round/>
            </a:ln>
            <a:effectLst/>
          </c:spPr>
        </c:majorGridlines>
        <c:numFmt formatCode="#,##0.0000_);[Red]\(#,##0.00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15207534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legend>
    <c:plotVisOnly val="1"/>
    <c:dispBlanksAs val="gap"/>
    <c:showDLblsOverMax val="0"/>
  </c:chart>
  <c:spPr>
    <a:noFill/>
    <a:ln>
      <a:noFill/>
    </a:ln>
    <a:effectLst/>
  </c:spPr>
  <c:txPr>
    <a:bodyPr/>
    <a:lstStyle/>
    <a:p>
      <a:pPr>
        <a:defRPr/>
      </a:pPr>
      <a:endParaRPr lang="zh-C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G$18</c:f>
              <c:strCache>
                <c:ptCount val="1"/>
                <c:pt idx="0">
                  <c:v>Shares</c:v>
                </c:pt>
              </c:strCache>
            </c:strRef>
          </c:tx>
          <c:spPr>
            <a:solidFill>
              <a:schemeClr val="accent1"/>
            </a:solidFill>
            <a:ln>
              <a:noFill/>
            </a:ln>
            <a:effectLst/>
          </c:spPr>
          <c:invertIfNegative val="0"/>
          <c:cat>
            <c:strRef>
              <c:f>Sheet1!$F$19:$F$20</c:f>
              <c:strCache>
                <c:ptCount val="2"/>
                <c:pt idx="0">
                  <c:v>Institutional Investor</c:v>
                </c:pt>
                <c:pt idx="1">
                  <c:v>Individual Investor</c:v>
                </c:pt>
              </c:strCache>
            </c:strRef>
          </c:cat>
          <c:val>
            <c:numRef>
              <c:f>Sheet1!$G$19:$G$20</c:f>
              <c:numCache>
                <c:formatCode>#,##0.00</c:formatCode>
                <c:ptCount val="2"/>
                <c:pt idx="0">
                  <c:v>2849713143.4699998</c:v>
                </c:pt>
                <c:pt idx="1">
                  <c:v>576086048246.33997</c:v>
                </c:pt>
              </c:numCache>
            </c:numRef>
          </c:val>
          <c:extLst>
            <c:ext xmlns:c16="http://schemas.microsoft.com/office/drawing/2014/chart" uri="{C3380CC4-5D6E-409C-BE32-E72D297353CC}">
              <c16:uniqueId val="{00000000-9E33-4715-9BFB-4DE1B641C4AA}"/>
            </c:ext>
          </c:extLst>
        </c:ser>
        <c:dLbls>
          <c:showLegendKey val="0"/>
          <c:showVal val="0"/>
          <c:showCatName val="0"/>
          <c:showSerName val="0"/>
          <c:showPercent val="0"/>
          <c:showBubbleSize val="0"/>
        </c:dLbls>
        <c:gapWidth val="219"/>
        <c:overlap val="-27"/>
        <c:axId val="1562710352"/>
        <c:axId val="1562712400"/>
      </c:barChart>
      <c:lineChart>
        <c:grouping val="standard"/>
        <c:varyColors val="0"/>
        <c:ser>
          <c:idx val="1"/>
          <c:order val="1"/>
          <c:tx>
            <c:strRef>
              <c:f>Sheet1!$H$18</c:f>
              <c:strCache>
                <c:ptCount val="1"/>
                <c:pt idx="0">
                  <c:v>Percentage</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Pt>
            <c:idx val="1"/>
            <c:marker>
              <c:symbol val="circle"/>
              <c:size val="5"/>
              <c:spPr>
                <a:solidFill>
                  <a:schemeClr val="accent2"/>
                </a:solidFill>
                <a:ln w="9525">
                  <a:solidFill>
                    <a:schemeClr val="accent2"/>
                  </a:solidFill>
                </a:ln>
                <a:effectLst/>
              </c:spPr>
            </c:marker>
            <c:bubble3D val="0"/>
            <c:spPr>
              <a:ln w="28575" cap="rnd">
                <a:solidFill>
                  <a:schemeClr val="bg2"/>
                </a:solidFill>
                <a:round/>
              </a:ln>
              <a:effectLst/>
            </c:spPr>
            <c:extLst>
              <c:ext xmlns:c16="http://schemas.microsoft.com/office/drawing/2014/chart" uri="{C3380CC4-5D6E-409C-BE32-E72D297353CC}">
                <c16:uniqueId val="{00000002-9E33-4715-9BFB-4DE1B641C4AA}"/>
              </c:ext>
            </c:extLst>
          </c:dPt>
          <c:cat>
            <c:strRef>
              <c:f>Sheet1!$F$19:$F$20</c:f>
              <c:strCache>
                <c:ptCount val="2"/>
                <c:pt idx="0">
                  <c:v>Institutional Investor</c:v>
                </c:pt>
                <c:pt idx="1">
                  <c:v>Individual Investor</c:v>
                </c:pt>
              </c:strCache>
            </c:strRef>
          </c:cat>
          <c:val>
            <c:numRef>
              <c:f>Sheet1!$H$19:$H$20</c:f>
              <c:numCache>
                <c:formatCode>0.00%</c:formatCode>
                <c:ptCount val="2"/>
                <c:pt idx="0">
                  <c:v>4.8999999999999998E-3</c:v>
                </c:pt>
                <c:pt idx="1">
                  <c:v>0.99509999999999998</c:v>
                </c:pt>
              </c:numCache>
            </c:numRef>
          </c:val>
          <c:smooth val="0"/>
          <c:extLst>
            <c:ext xmlns:c16="http://schemas.microsoft.com/office/drawing/2014/chart" uri="{C3380CC4-5D6E-409C-BE32-E72D297353CC}">
              <c16:uniqueId val="{00000001-9E33-4715-9BFB-4DE1B641C4AA}"/>
            </c:ext>
          </c:extLst>
        </c:ser>
        <c:dLbls>
          <c:showLegendKey val="0"/>
          <c:showVal val="0"/>
          <c:showCatName val="0"/>
          <c:showSerName val="0"/>
          <c:showPercent val="0"/>
          <c:showBubbleSize val="0"/>
        </c:dLbls>
        <c:marker val="1"/>
        <c:smooth val="0"/>
        <c:axId val="1562717552"/>
        <c:axId val="1562715232"/>
      </c:lineChart>
      <c:catAx>
        <c:axId val="15627103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Palatino Linotype" panose="02040502050505030304" pitchFamily="18" charset="0"/>
                <a:ea typeface="+mn-ea"/>
                <a:cs typeface="+mn-cs"/>
              </a:defRPr>
            </a:pPr>
            <a:endParaRPr lang="zh-CN"/>
          </a:p>
        </c:txPr>
        <c:crossAx val="1562712400"/>
        <c:crosses val="autoZero"/>
        <c:auto val="1"/>
        <c:lblAlgn val="ctr"/>
        <c:lblOffset val="100"/>
        <c:noMultiLvlLbl val="0"/>
      </c:catAx>
      <c:valAx>
        <c:axId val="1562712400"/>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Palatino Linotype" panose="02040502050505030304" pitchFamily="18" charset="0"/>
                <a:ea typeface="+mn-ea"/>
                <a:cs typeface="+mn-cs"/>
              </a:defRPr>
            </a:pPr>
            <a:endParaRPr lang="zh-CN"/>
          </a:p>
        </c:txPr>
        <c:crossAx val="1562710352"/>
        <c:crosses val="autoZero"/>
        <c:crossBetween val="between"/>
      </c:valAx>
      <c:valAx>
        <c:axId val="1562715232"/>
        <c:scaling>
          <c:orientation val="minMax"/>
        </c:scaling>
        <c:delete val="0"/>
        <c:axPos val="r"/>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Palatino Linotype" panose="02040502050505030304" pitchFamily="18" charset="0"/>
                <a:ea typeface="+mn-ea"/>
                <a:cs typeface="+mn-cs"/>
              </a:defRPr>
            </a:pPr>
            <a:endParaRPr lang="zh-CN"/>
          </a:p>
        </c:txPr>
        <c:crossAx val="1562717552"/>
        <c:crosses val="max"/>
        <c:crossBetween val="between"/>
      </c:valAx>
      <c:catAx>
        <c:axId val="1562717552"/>
        <c:scaling>
          <c:orientation val="minMax"/>
        </c:scaling>
        <c:delete val="1"/>
        <c:axPos val="b"/>
        <c:numFmt formatCode="General" sourceLinked="1"/>
        <c:majorTickMark val="none"/>
        <c:minorTickMark val="none"/>
        <c:tickLblPos val="nextTo"/>
        <c:crossAx val="1562715232"/>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Palatino Linotype" panose="02040502050505030304" pitchFamily="18" charset="0"/>
              <a:ea typeface="+mn-ea"/>
              <a:cs typeface="+mn-cs"/>
            </a:defRPr>
          </a:pPr>
          <a:endParaRPr lang="zh-CN"/>
        </a:p>
      </c:txPr>
    </c:legend>
    <c:plotVisOnly val="1"/>
    <c:dispBlanksAs val="gap"/>
    <c:showDLblsOverMax val="0"/>
  </c:chart>
  <c:spPr>
    <a:solidFill>
      <a:schemeClr val="bg1"/>
    </a:solidFill>
    <a:ln w="9525" cap="flat" cmpd="sng" algn="ctr">
      <a:noFill/>
      <a:round/>
    </a:ln>
    <a:effectLst/>
  </c:spPr>
  <c:txPr>
    <a:bodyPr/>
    <a:lstStyle/>
    <a:p>
      <a:pPr>
        <a:defRPr>
          <a:latin typeface="Palatino Linotype" panose="02040502050505030304" pitchFamily="18" charset="0"/>
        </a:defRPr>
      </a:pPr>
      <a:endParaRPr lang="zh-CN"/>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ltLang="zh-CN"/>
              <a:t>Return</a:t>
            </a:r>
            <a:r>
              <a:rPr lang="en-US" altLang="zh-CN" baseline="0"/>
              <a:t> rate</a:t>
            </a:r>
            <a:endParaRPr lang="zh-CN" alt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zh-CN"/>
        </a:p>
      </c:txPr>
    </c:title>
    <c:autoTitleDeleted val="0"/>
    <c:plotArea>
      <c:layout/>
      <c:lineChart>
        <c:grouping val="standard"/>
        <c:varyColors val="0"/>
        <c:ser>
          <c:idx val="0"/>
          <c:order val="0"/>
          <c:tx>
            <c:strRef>
              <c:f>Sheet2!$B$1</c:f>
              <c:strCache>
                <c:ptCount val="1"/>
                <c:pt idx="0">
                  <c:v>one year fixed deposit</c:v>
                </c:pt>
              </c:strCache>
            </c:strRef>
          </c:tx>
          <c:spPr>
            <a:ln w="28575" cap="rnd">
              <a:solidFill>
                <a:srgbClr val="9B1717"/>
              </a:solidFill>
              <a:round/>
            </a:ln>
            <a:effectLst/>
          </c:spPr>
          <c:marker>
            <c:symbol val="none"/>
          </c:marker>
          <c:cat>
            <c:numRef>
              <c:f>Sheet2!$A$2:$A$777</c:f>
              <c:numCache>
                <c:formatCode>yyyy\-mm\-dd;@</c:formatCode>
                <c:ptCount val="776"/>
                <c:pt idx="0">
                  <c:v>41427</c:v>
                </c:pt>
                <c:pt idx="1">
                  <c:v>41428</c:v>
                </c:pt>
                <c:pt idx="2">
                  <c:v>41429</c:v>
                </c:pt>
                <c:pt idx="3">
                  <c:v>41430</c:v>
                </c:pt>
                <c:pt idx="4">
                  <c:v>41431</c:v>
                </c:pt>
                <c:pt idx="5">
                  <c:v>41432</c:v>
                </c:pt>
                <c:pt idx="6">
                  <c:v>41437</c:v>
                </c:pt>
                <c:pt idx="7">
                  <c:v>41438</c:v>
                </c:pt>
                <c:pt idx="8">
                  <c:v>41439</c:v>
                </c:pt>
                <c:pt idx="9">
                  <c:v>41441</c:v>
                </c:pt>
                <c:pt idx="10">
                  <c:v>41442</c:v>
                </c:pt>
                <c:pt idx="11">
                  <c:v>41443</c:v>
                </c:pt>
                <c:pt idx="12">
                  <c:v>41444</c:v>
                </c:pt>
                <c:pt idx="13">
                  <c:v>41445</c:v>
                </c:pt>
                <c:pt idx="14">
                  <c:v>41446</c:v>
                </c:pt>
                <c:pt idx="15">
                  <c:v>41448</c:v>
                </c:pt>
                <c:pt idx="16">
                  <c:v>41449</c:v>
                </c:pt>
                <c:pt idx="17">
                  <c:v>41450</c:v>
                </c:pt>
                <c:pt idx="18">
                  <c:v>41451</c:v>
                </c:pt>
                <c:pt idx="19">
                  <c:v>41452</c:v>
                </c:pt>
                <c:pt idx="20">
                  <c:v>41453</c:v>
                </c:pt>
                <c:pt idx="21">
                  <c:v>41455</c:v>
                </c:pt>
                <c:pt idx="22">
                  <c:v>41456</c:v>
                </c:pt>
                <c:pt idx="23">
                  <c:v>41457</c:v>
                </c:pt>
                <c:pt idx="24">
                  <c:v>41458</c:v>
                </c:pt>
                <c:pt idx="25">
                  <c:v>41459</c:v>
                </c:pt>
                <c:pt idx="26">
                  <c:v>41460</c:v>
                </c:pt>
                <c:pt idx="27">
                  <c:v>41462</c:v>
                </c:pt>
                <c:pt idx="28">
                  <c:v>41463</c:v>
                </c:pt>
                <c:pt idx="29">
                  <c:v>41464</c:v>
                </c:pt>
                <c:pt idx="30">
                  <c:v>41465</c:v>
                </c:pt>
                <c:pt idx="31">
                  <c:v>41466</c:v>
                </c:pt>
                <c:pt idx="32">
                  <c:v>41467</c:v>
                </c:pt>
                <c:pt idx="33">
                  <c:v>41469</c:v>
                </c:pt>
                <c:pt idx="34">
                  <c:v>41470</c:v>
                </c:pt>
                <c:pt idx="35">
                  <c:v>41471</c:v>
                </c:pt>
                <c:pt idx="36">
                  <c:v>41472</c:v>
                </c:pt>
                <c:pt idx="37">
                  <c:v>41473</c:v>
                </c:pt>
                <c:pt idx="38">
                  <c:v>41474</c:v>
                </c:pt>
                <c:pt idx="39">
                  <c:v>41476</c:v>
                </c:pt>
                <c:pt idx="40">
                  <c:v>41477</c:v>
                </c:pt>
                <c:pt idx="41">
                  <c:v>41478</c:v>
                </c:pt>
                <c:pt idx="42">
                  <c:v>41479</c:v>
                </c:pt>
                <c:pt idx="43">
                  <c:v>41480</c:v>
                </c:pt>
                <c:pt idx="44">
                  <c:v>41481</c:v>
                </c:pt>
                <c:pt idx="45">
                  <c:v>41483</c:v>
                </c:pt>
                <c:pt idx="46">
                  <c:v>41484</c:v>
                </c:pt>
                <c:pt idx="47">
                  <c:v>41485</c:v>
                </c:pt>
                <c:pt idx="48">
                  <c:v>41486</c:v>
                </c:pt>
                <c:pt idx="49">
                  <c:v>41487</c:v>
                </c:pt>
                <c:pt idx="50">
                  <c:v>41488</c:v>
                </c:pt>
                <c:pt idx="51">
                  <c:v>41490</c:v>
                </c:pt>
                <c:pt idx="52">
                  <c:v>41491</c:v>
                </c:pt>
                <c:pt idx="53">
                  <c:v>41492</c:v>
                </c:pt>
                <c:pt idx="54">
                  <c:v>41493</c:v>
                </c:pt>
                <c:pt idx="55">
                  <c:v>41494</c:v>
                </c:pt>
                <c:pt idx="56">
                  <c:v>41495</c:v>
                </c:pt>
                <c:pt idx="57">
                  <c:v>41497</c:v>
                </c:pt>
                <c:pt idx="58">
                  <c:v>41498</c:v>
                </c:pt>
                <c:pt idx="59">
                  <c:v>41499</c:v>
                </c:pt>
                <c:pt idx="60">
                  <c:v>41500</c:v>
                </c:pt>
                <c:pt idx="61">
                  <c:v>41501</c:v>
                </c:pt>
                <c:pt idx="62">
                  <c:v>41502</c:v>
                </c:pt>
                <c:pt idx="63">
                  <c:v>41504</c:v>
                </c:pt>
                <c:pt idx="64">
                  <c:v>41505</c:v>
                </c:pt>
                <c:pt idx="65">
                  <c:v>41506</c:v>
                </c:pt>
                <c:pt idx="66">
                  <c:v>41507</c:v>
                </c:pt>
                <c:pt idx="67">
                  <c:v>41508</c:v>
                </c:pt>
                <c:pt idx="68">
                  <c:v>41509</c:v>
                </c:pt>
                <c:pt idx="69">
                  <c:v>41511</c:v>
                </c:pt>
                <c:pt idx="70">
                  <c:v>41512</c:v>
                </c:pt>
                <c:pt idx="71">
                  <c:v>41513</c:v>
                </c:pt>
                <c:pt idx="72">
                  <c:v>41514</c:v>
                </c:pt>
                <c:pt idx="73">
                  <c:v>41515</c:v>
                </c:pt>
                <c:pt idx="74">
                  <c:v>41516</c:v>
                </c:pt>
                <c:pt idx="75">
                  <c:v>41517</c:v>
                </c:pt>
                <c:pt idx="76">
                  <c:v>41518</c:v>
                </c:pt>
                <c:pt idx="77">
                  <c:v>41519</c:v>
                </c:pt>
                <c:pt idx="78">
                  <c:v>41520</c:v>
                </c:pt>
                <c:pt idx="79">
                  <c:v>41521</c:v>
                </c:pt>
                <c:pt idx="80">
                  <c:v>41522</c:v>
                </c:pt>
                <c:pt idx="81">
                  <c:v>41523</c:v>
                </c:pt>
                <c:pt idx="82">
                  <c:v>41525</c:v>
                </c:pt>
                <c:pt idx="83">
                  <c:v>41526</c:v>
                </c:pt>
                <c:pt idx="84">
                  <c:v>41527</c:v>
                </c:pt>
                <c:pt idx="85">
                  <c:v>41528</c:v>
                </c:pt>
                <c:pt idx="86">
                  <c:v>41529</c:v>
                </c:pt>
                <c:pt idx="87">
                  <c:v>41530</c:v>
                </c:pt>
                <c:pt idx="88">
                  <c:v>41532</c:v>
                </c:pt>
                <c:pt idx="89">
                  <c:v>41533</c:v>
                </c:pt>
                <c:pt idx="90">
                  <c:v>41534</c:v>
                </c:pt>
                <c:pt idx="91">
                  <c:v>41535</c:v>
                </c:pt>
                <c:pt idx="92">
                  <c:v>41539</c:v>
                </c:pt>
                <c:pt idx="93">
                  <c:v>41540</c:v>
                </c:pt>
                <c:pt idx="94">
                  <c:v>41541</c:v>
                </c:pt>
                <c:pt idx="95">
                  <c:v>41542</c:v>
                </c:pt>
                <c:pt idx="96">
                  <c:v>41543</c:v>
                </c:pt>
                <c:pt idx="97">
                  <c:v>41544</c:v>
                </c:pt>
                <c:pt idx="98">
                  <c:v>41546</c:v>
                </c:pt>
                <c:pt idx="99">
                  <c:v>41547</c:v>
                </c:pt>
                <c:pt idx="100">
                  <c:v>41554</c:v>
                </c:pt>
                <c:pt idx="101">
                  <c:v>41555</c:v>
                </c:pt>
                <c:pt idx="102">
                  <c:v>41556</c:v>
                </c:pt>
                <c:pt idx="103">
                  <c:v>41557</c:v>
                </c:pt>
                <c:pt idx="104">
                  <c:v>41558</c:v>
                </c:pt>
                <c:pt idx="105">
                  <c:v>41560</c:v>
                </c:pt>
                <c:pt idx="106">
                  <c:v>41561</c:v>
                </c:pt>
                <c:pt idx="107">
                  <c:v>41562</c:v>
                </c:pt>
                <c:pt idx="108">
                  <c:v>41563</c:v>
                </c:pt>
                <c:pt idx="109">
                  <c:v>41564</c:v>
                </c:pt>
                <c:pt idx="110">
                  <c:v>41565</c:v>
                </c:pt>
                <c:pt idx="111">
                  <c:v>41567</c:v>
                </c:pt>
                <c:pt idx="112">
                  <c:v>41568</c:v>
                </c:pt>
                <c:pt idx="113">
                  <c:v>41569</c:v>
                </c:pt>
                <c:pt idx="114">
                  <c:v>41570</c:v>
                </c:pt>
                <c:pt idx="115">
                  <c:v>41571</c:v>
                </c:pt>
                <c:pt idx="116">
                  <c:v>41572</c:v>
                </c:pt>
                <c:pt idx="117">
                  <c:v>41574</c:v>
                </c:pt>
                <c:pt idx="118">
                  <c:v>41575</c:v>
                </c:pt>
                <c:pt idx="119">
                  <c:v>41576</c:v>
                </c:pt>
                <c:pt idx="120">
                  <c:v>41577</c:v>
                </c:pt>
                <c:pt idx="121">
                  <c:v>41578</c:v>
                </c:pt>
                <c:pt idx="122">
                  <c:v>41579</c:v>
                </c:pt>
                <c:pt idx="123">
                  <c:v>41581</c:v>
                </c:pt>
                <c:pt idx="124">
                  <c:v>41582</c:v>
                </c:pt>
                <c:pt idx="125">
                  <c:v>41583</c:v>
                </c:pt>
                <c:pt idx="126">
                  <c:v>41584</c:v>
                </c:pt>
                <c:pt idx="127">
                  <c:v>41585</c:v>
                </c:pt>
                <c:pt idx="128">
                  <c:v>41586</c:v>
                </c:pt>
                <c:pt idx="129">
                  <c:v>41588</c:v>
                </c:pt>
                <c:pt idx="130">
                  <c:v>41589</c:v>
                </c:pt>
                <c:pt idx="131">
                  <c:v>41590</c:v>
                </c:pt>
                <c:pt idx="132">
                  <c:v>41591</c:v>
                </c:pt>
                <c:pt idx="133">
                  <c:v>41592</c:v>
                </c:pt>
                <c:pt idx="134">
                  <c:v>41593</c:v>
                </c:pt>
                <c:pt idx="135">
                  <c:v>41595</c:v>
                </c:pt>
                <c:pt idx="136">
                  <c:v>41596</c:v>
                </c:pt>
                <c:pt idx="137">
                  <c:v>41597</c:v>
                </c:pt>
                <c:pt idx="138">
                  <c:v>41598</c:v>
                </c:pt>
                <c:pt idx="139">
                  <c:v>41599</c:v>
                </c:pt>
                <c:pt idx="140">
                  <c:v>41600</c:v>
                </c:pt>
                <c:pt idx="141">
                  <c:v>41602</c:v>
                </c:pt>
                <c:pt idx="142">
                  <c:v>41603</c:v>
                </c:pt>
                <c:pt idx="143">
                  <c:v>41604</c:v>
                </c:pt>
                <c:pt idx="144">
                  <c:v>41605</c:v>
                </c:pt>
                <c:pt idx="145">
                  <c:v>41606</c:v>
                </c:pt>
                <c:pt idx="146">
                  <c:v>41607</c:v>
                </c:pt>
                <c:pt idx="147">
                  <c:v>41608</c:v>
                </c:pt>
                <c:pt idx="148">
                  <c:v>41609</c:v>
                </c:pt>
                <c:pt idx="149">
                  <c:v>41610</c:v>
                </c:pt>
                <c:pt idx="150">
                  <c:v>41611</c:v>
                </c:pt>
                <c:pt idx="151">
                  <c:v>41612</c:v>
                </c:pt>
                <c:pt idx="152">
                  <c:v>41613</c:v>
                </c:pt>
                <c:pt idx="153">
                  <c:v>41614</c:v>
                </c:pt>
                <c:pt idx="154">
                  <c:v>41616</c:v>
                </c:pt>
                <c:pt idx="155">
                  <c:v>41617</c:v>
                </c:pt>
                <c:pt idx="156">
                  <c:v>41618</c:v>
                </c:pt>
                <c:pt idx="157">
                  <c:v>41619</c:v>
                </c:pt>
                <c:pt idx="158">
                  <c:v>41620</c:v>
                </c:pt>
                <c:pt idx="159">
                  <c:v>41621</c:v>
                </c:pt>
                <c:pt idx="160">
                  <c:v>41623</c:v>
                </c:pt>
                <c:pt idx="161">
                  <c:v>41624</c:v>
                </c:pt>
                <c:pt idx="162">
                  <c:v>41625</c:v>
                </c:pt>
                <c:pt idx="163">
                  <c:v>41626</c:v>
                </c:pt>
                <c:pt idx="164">
                  <c:v>41627</c:v>
                </c:pt>
                <c:pt idx="165">
                  <c:v>41628</c:v>
                </c:pt>
                <c:pt idx="166">
                  <c:v>41630</c:v>
                </c:pt>
                <c:pt idx="167">
                  <c:v>41631</c:v>
                </c:pt>
                <c:pt idx="168">
                  <c:v>41632</c:v>
                </c:pt>
                <c:pt idx="169">
                  <c:v>41633</c:v>
                </c:pt>
                <c:pt idx="170">
                  <c:v>41634</c:v>
                </c:pt>
                <c:pt idx="171">
                  <c:v>41635</c:v>
                </c:pt>
                <c:pt idx="172">
                  <c:v>41637</c:v>
                </c:pt>
                <c:pt idx="173">
                  <c:v>41638</c:v>
                </c:pt>
                <c:pt idx="174">
                  <c:v>41639</c:v>
                </c:pt>
                <c:pt idx="175">
                  <c:v>41640</c:v>
                </c:pt>
                <c:pt idx="176">
                  <c:v>41641</c:v>
                </c:pt>
                <c:pt idx="177">
                  <c:v>41642</c:v>
                </c:pt>
                <c:pt idx="178">
                  <c:v>41644</c:v>
                </c:pt>
                <c:pt idx="179">
                  <c:v>41645</c:v>
                </c:pt>
                <c:pt idx="180">
                  <c:v>41646</c:v>
                </c:pt>
                <c:pt idx="181">
                  <c:v>41647</c:v>
                </c:pt>
                <c:pt idx="182">
                  <c:v>41648</c:v>
                </c:pt>
                <c:pt idx="183">
                  <c:v>41649</c:v>
                </c:pt>
                <c:pt idx="184">
                  <c:v>41651</c:v>
                </c:pt>
                <c:pt idx="185">
                  <c:v>41652</c:v>
                </c:pt>
                <c:pt idx="186">
                  <c:v>41653</c:v>
                </c:pt>
                <c:pt idx="187">
                  <c:v>41654</c:v>
                </c:pt>
                <c:pt idx="188">
                  <c:v>41655</c:v>
                </c:pt>
                <c:pt idx="189">
                  <c:v>41656</c:v>
                </c:pt>
                <c:pt idx="190">
                  <c:v>41658</c:v>
                </c:pt>
                <c:pt idx="191">
                  <c:v>41659</c:v>
                </c:pt>
                <c:pt idx="192">
                  <c:v>41660</c:v>
                </c:pt>
                <c:pt idx="193">
                  <c:v>41661</c:v>
                </c:pt>
                <c:pt idx="194">
                  <c:v>41662</c:v>
                </c:pt>
                <c:pt idx="195">
                  <c:v>41663</c:v>
                </c:pt>
                <c:pt idx="196">
                  <c:v>41665</c:v>
                </c:pt>
                <c:pt idx="197">
                  <c:v>41666</c:v>
                </c:pt>
                <c:pt idx="198">
                  <c:v>41667</c:v>
                </c:pt>
                <c:pt idx="199">
                  <c:v>41668</c:v>
                </c:pt>
                <c:pt idx="200">
                  <c:v>41669</c:v>
                </c:pt>
                <c:pt idx="201">
                  <c:v>41670</c:v>
                </c:pt>
                <c:pt idx="202">
                  <c:v>41676</c:v>
                </c:pt>
                <c:pt idx="203">
                  <c:v>41677</c:v>
                </c:pt>
                <c:pt idx="204">
                  <c:v>41679</c:v>
                </c:pt>
                <c:pt idx="205">
                  <c:v>41680</c:v>
                </c:pt>
                <c:pt idx="206">
                  <c:v>41681</c:v>
                </c:pt>
                <c:pt idx="207">
                  <c:v>41682</c:v>
                </c:pt>
                <c:pt idx="208">
                  <c:v>41683</c:v>
                </c:pt>
                <c:pt idx="209">
                  <c:v>41684</c:v>
                </c:pt>
                <c:pt idx="210">
                  <c:v>41686</c:v>
                </c:pt>
                <c:pt idx="211">
                  <c:v>41687</c:v>
                </c:pt>
                <c:pt idx="212">
                  <c:v>41688</c:v>
                </c:pt>
                <c:pt idx="213">
                  <c:v>41689</c:v>
                </c:pt>
                <c:pt idx="214">
                  <c:v>41690</c:v>
                </c:pt>
                <c:pt idx="215">
                  <c:v>41691</c:v>
                </c:pt>
                <c:pt idx="216">
                  <c:v>41693</c:v>
                </c:pt>
                <c:pt idx="217">
                  <c:v>41694</c:v>
                </c:pt>
                <c:pt idx="218">
                  <c:v>41695</c:v>
                </c:pt>
                <c:pt idx="219">
                  <c:v>41696</c:v>
                </c:pt>
                <c:pt idx="220">
                  <c:v>41697</c:v>
                </c:pt>
                <c:pt idx="221">
                  <c:v>41698</c:v>
                </c:pt>
                <c:pt idx="222">
                  <c:v>41700</c:v>
                </c:pt>
                <c:pt idx="223">
                  <c:v>41701</c:v>
                </c:pt>
                <c:pt idx="224">
                  <c:v>41702</c:v>
                </c:pt>
                <c:pt idx="225">
                  <c:v>41703</c:v>
                </c:pt>
                <c:pt idx="226">
                  <c:v>41704</c:v>
                </c:pt>
                <c:pt idx="227">
                  <c:v>41705</c:v>
                </c:pt>
                <c:pt idx="228">
                  <c:v>41707</c:v>
                </c:pt>
                <c:pt idx="229">
                  <c:v>41708</c:v>
                </c:pt>
                <c:pt idx="230">
                  <c:v>41709</c:v>
                </c:pt>
                <c:pt idx="231">
                  <c:v>41710</c:v>
                </c:pt>
                <c:pt idx="232">
                  <c:v>41711</c:v>
                </c:pt>
                <c:pt idx="233">
                  <c:v>41712</c:v>
                </c:pt>
                <c:pt idx="234">
                  <c:v>41714</c:v>
                </c:pt>
                <c:pt idx="235">
                  <c:v>41715</c:v>
                </c:pt>
                <c:pt idx="236">
                  <c:v>41716</c:v>
                </c:pt>
                <c:pt idx="237">
                  <c:v>41717</c:v>
                </c:pt>
                <c:pt idx="238">
                  <c:v>41718</c:v>
                </c:pt>
                <c:pt idx="239">
                  <c:v>41719</c:v>
                </c:pt>
                <c:pt idx="240">
                  <c:v>41721</c:v>
                </c:pt>
                <c:pt idx="241">
                  <c:v>41722</c:v>
                </c:pt>
                <c:pt idx="242">
                  <c:v>41723</c:v>
                </c:pt>
                <c:pt idx="243">
                  <c:v>41724</c:v>
                </c:pt>
                <c:pt idx="244">
                  <c:v>41725</c:v>
                </c:pt>
                <c:pt idx="245">
                  <c:v>41726</c:v>
                </c:pt>
                <c:pt idx="246">
                  <c:v>41728</c:v>
                </c:pt>
                <c:pt idx="247">
                  <c:v>41729</c:v>
                </c:pt>
                <c:pt idx="248">
                  <c:v>41730</c:v>
                </c:pt>
                <c:pt idx="249">
                  <c:v>41731</c:v>
                </c:pt>
                <c:pt idx="250">
                  <c:v>41732</c:v>
                </c:pt>
                <c:pt idx="251">
                  <c:v>41733</c:v>
                </c:pt>
                <c:pt idx="252">
                  <c:v>41736</c:v>
                </c:pt>
                <c:pt idx="253">
                  <c:v>41737</c:v>
                </c:pt>
                <c:pt idx="254">
                  <c:v>41738</c:v>
                </c:pt>
                <c:pt idx="255">
                  <c:v>41739</c:v>
                </c:pt>
                <c:pt idx="256">
                  <c:v>41740</c:v>
                </c:pt>
                <c:pt idx="257">
                  <c:v>41742</c:v>
                </c:pt>
                <c:pt idx="258">
                  <c:v>41743</c:v>
                </c:pt>
                <c:pt idx="259">
                  <c:v>41744</c:v>
                </c:pt>
                <c:pt idx="260">
                  <c:v>41745</c:v>
                </c:pt>
                <c:pt idx="261">
                  <c:v>41746</c:v>
                </c:pt>
                <c:pt idx="262">
                  <c:v>41747</c:v>
                </c:pt>
                <c:pt idx="263">
                  <c:v>41749</c:v>
                </c:pt>
                <c:pt idx="264">
                  <c:v>41750</c:v>
                </c:pt>
                <c:pt idx="265">
                  <c:v>41751</c:v>
                </c:pt>
                <c:pt idx="266">
                  <c:v>41752</c:v>
                </c:pt>
                <c:pt idx="267">
                  <c:v>41753</c:v>
                </c:pt>
                <c:pt idx="268">
                  <c:v>41754</c:v>
                </c:pt>
                <c:pt idx="269">
                  <c:v>41756</c:v>
                </c:pt>
                <c:pt idx="270">
                  <c:v>41757</c:v>
                </c:pt>
                <c:pt idx="271">
                  <c:v>41758</c:v>
                </c:pt>
                <c:pt idx="272">
                  <c:v>41759</c:v>
                </c:pt>
                <c:pt idx="273">
                  <c:v>41763</c:v>
                </c:pt>
                <c:pt idx="274">
                  <c:v>41764</c:v>
                </c:pt>
                <c:pt idx="275">
                  <c:v>41765</c:v>
                </c:pt>
                <c:pt idx="276">
                  <c:v>41766</c:v>
                </c:pt>
                <c:pt idx="277">
                  <c:v>41767</c:v>
                </c:pt>
                <c:pt idx="278">
                  <c:v>41768</c:v>
                </c:pt>
                <c:pt idx="279">
                  <c:v>41770</c:v>
                </c:pt>
                <c:pt idx="280">
                  <c:v>41771</c:v>
                </c:pt>
                <c:pt idx="281">
                  <c:v>41772</c:v>
                </c:pt>
                <c:pt idx="282">
                  <c:v>41773</c:v>
                </c:pt>
                <c:pt idx="283">
                  <c:v>41774</c:v>
                </c:pt>
                <c:pt idx="284">
                  <c:v>41775</c:v>
                </c:pt>
                <c:pt idx="285">
                  <c:v>41777</c:v>
                </c:pt>
                <c:pt idx="286">
                  <c:v>41778</c:v>
                </c:pt>
                <c:pt idx="287">
                  <c:v>41779</c:v>
                </c:pt>
                <c:pt idx="288">
                  <c:v>41780</c:v>
                </c:pt>
                <c:pt idx="289">
                  <c:v>41781</c:v>
                </c:pt>
                <c:pt idx="290">
                  <c:v>41782</c:v>
                </c:pt>
                <c:pt idx="291">
                  <c:v>41784</c:v>
                </c:pt>
                <c:pt idx="292">
                  <c:v>41785</c:v>
                </c:pt>
                <c:pt idx="293">
                  <c:v>41786</c:v>
                </c:pt>
                <c:pt idx="294">
                  <c:v>41787</c:v>
                </c:pt>
                <c:pt idx="295">
                  <c:v>41788</c:v>
                </c:pt>
                <c:pt idx="296">
                  <c:v>41789</c:v>
                </c:pt>
                <c:pt idx="297">
                  <c:v>41790</c:v>
                </c:pt>
                <c:pt idx="298">
                  <c:v>41792</c:v>
                </c:pt>
                <c:pt idx="299">
                  <c:v>41793</c:v>
                </c:pt>
                <c:pt idx="300">
                  <c:v>41794</c:v>
                </c:pt>
                <c:pt idx="301">
                  <c:v>41795</c:v>
                </c:pt>
                <c:pt idx="302">
                  <c:v>41796</c:v>
                </c:pt>
                <c:pt idx="303">
                  <c:v>41798</c:v>
                </c:pt>
                <c:pt idx="304">
                  <c:v>41799</c:v>
                </c:pt>
                <c:pt idx="305">
                  <c:v>41800</c:v>
                </c:pt>
                <c:pt idx="306">
                  <c:v>41801</c:v>
                </c:pt>
                <c:pt idx="307">
                  <c:v>41802</c:v>
                </c:pt>
                <c:pt idx="308">
                  <c:v>41803</c:v>
                </c:pt>
                <c:pt idx="309">
                  <c:v>41805</c:v>
                </c:pt>
                <c:pt idx="310">
                  <c:v>41806</c:v>
                </c:pt>
                <c:pt idx="311">
                  <c:v>41807</c:v>
                </c:pt>
                <c:pt idx="312">
                  <c:v>41808</c:v>
                </c:pt>
                <c:pt idx="313">
                  <c:v>41809</c:v>
                </c:pt>
                <c:pt idx="314">
                  <c:v>41810</c:v>
                </c:pt>
                <c:pt idx="315">
                  <c:v>41812</c:v>
                </c:pt>
                <c:pt idx="316">
                  <c:v>41813</c:v>
                </c:pt>
                <c:pt idx="317">
                  <c:v>41814</c:v>
                </c:pt>
                <c:pt idx="318">
                  <c:v>41815</c:v>
                </c:pt>
                <c:pt idx="319">
                  <c:v>41816</c:v>
                </c:pt>
                <c:pt idx="320">
                  <c:v>41817</c:v>
                </c:pt>
                <c:pt idx="321">
                  <c:v>41819</c:v>
                </c:pt>
                <c:pt idx="322">
                  <c:v>41820</c:v>
                </c:pt>
                <c:pt idx="323">
                  <c:v>41821</c:v>
                </c:pt>
                <c:pt idx="324">
                  <c:v>41822</c:v>
                </c:pt>
                <c:pt idx="325">
                  <c:v>41823</c:v>
                </c:pt>
                <c:pt idx="326">
                  <c:v>41824</c:v>
                </c:pt>
                <c:pt idx="327">
                  <c:v>41826</c:v>
                </c:pt>
                <c:pt idx="328">
                  <c:v>41827</c:v>
                </c:pt>
                <c:pt idx="329">
                  <c:v>41828</c:v>
                </c:pt>
                <c:pt idx="330">
                  <c:v>41829</c:v>
                </c:pt>
                <c:pt idx="331">
                  <c:v>41830</c:v>
                </c:pt>
                <c:pt idx="332">
                  <c:v>41831</c:v>
                </c:pt>
                <c:pt idx="333">
                  <c:v>41833</c:v>
                </c:pt>
                <c:pt idx="334">
                  <c:v>41834</c:v>
                </c:pt>
                <c:pt idx="335">
                  <c:v>41835</c:v>
                </c:pt>
                <c:pt idx="336">
                  <c:v>41836</c:v>
                </c:pt>
                <c:pt idx="337">
                  <c:v>41837</c:v>
                </c:pt>
                <c:pt idx="338">
                  <c:v>41838</c:v>
                </c:pt>
                <c:pt idx="339">
                  <c:v>41840</c:v>
                </c:pt>
                <c:pt idx="340">
                  <c:v>41841</c:v>
                </c:pt>
                <c:pt idx="341">
                  <c:v>41842</c:v>
                </c:pt>
                <c:pt idx="342">
                  <c:v>41843</c:v>
                </c:pt>
                <c:pt idx="343">
                  <c:v>41844</c:v>
                </c:pt>
                <c:pt idx="344">
                  <c:v>41845</c:v>
                </c:pt>
                <c:pt idx="345">
                  <c:v>41847</c:v>
                </c:pt>
                <c:pt idx="346">
                  <c:v>41848</c:v>
                </c:pt>
                <c:pt idx="347">
                  <c:v>41849</c:v>
                </c:pt>
                <c:pt idx="348">
                  <c:v>41850</c:v>
                </c:pt>
                <c:pt idx="349">
                  <c:v>41851</c:v>
                </c:pt>
                <c:pt idx="350">
                  <c:v>41852</c:v>
                </c:pt>
                <c:pt idx="351">
                  <c:v>41854</c:v>
                </c:pt>
                <c:pt idx="352">
                  <c:v>41855</c:v>
                </c:pt>
                <c:pt idx="353">
                  <c:v>41856</c:v>
                </c:pt>
                <c:pt idx="354">
                  <c:v>41857</c:v>
                </c:pt>
                <c:pt idx="355">
                  <c:v>41858</c:v>
                </c:pt>
                <c:pt idx="356">
                  <c:v>41859</c:v>
                </c:pt>
                <c:pt idx="357">
                  <c:v>41861</c:v>
                </c:pt>
                <c:pt idx="358">
                  <c:v>41862</c:v>
                </c:pt>
                <c:pt idx="359">
                  <c:v>41863</c:v>
                </c:pt>
                <c:pt idx="360">
                  <c:v>41864</c:v>
                </c:pt>
                <c:pt idx="361">
                  <c:v>41865</c:v>
                </c:pt>
                <c:pt idx="362">
                  <c:v>41866</c:v>
                </c:pt>
                <c:pt idx="363">
                  <c:v>41868</c:v>
                </c:pt>
                <c:pt idx="364">
                  <c:v>41869</c:v>
                </c:pt>
                <c:pt idx="365">
                  <c:v>41870</c:v>
                </c:pt>
                <c:pt idx="366">
                  <c:v>41871</c:v>
                </c:pt>
                <c:pt idx="367">
                  <c:v>41872</c:v>
                </c:pt>
                <c:pt idx="368">
                  <c:v>41873</c:v>
                </c:pt>
                <c:pt idx="369">
                  <c:v>41875</c:v>
                </c:pt>
                <c:pt idx="370">
                  <c:v>41876</c:v>
                </c:pt>
                <c:pt idx="371">
                  <c:v>41877</c:v>
                </c:pt>
                <c:pt idx="372">
                  <c:v>41878</c:v>
                </c:pt>
                <c:pt idx="373">
                  <c:v>41879</c:v>
                </c:pt>
                <c:pt idx="374">
                  <c:v>41880</c:v>
                </c:pt>
                <c:pt idx="375">
                  <c:v>41882</c:v>
                </c:pt>
                <c:pt idx="376">
                  <c:v>41883</c:v>
                </c:pt>
                <c:pt idx="377">
                  <c:v>41884</c:v>
                </c:pt>
                <c:pt idx="378">
                  <c:v>41885</c:v>
                </c:pt>
                <c:pt idx="379">
                  <c:v>41886</c:v>
                </c:pt>
                <c:pt idx="380">
                  <c:v>41887</c:v>
                </c:pt>
                <c:pt idx="381">
                  <c:v>41890</c:v>
                </c:pt>
                <c:pt idx="382">
                  <c:v>41891</c:v>
                </c:pt>
                <c:pt idx="383">
                  <c:v>41892</c:v>
                </c:pt>
                <c:pt idx="384">
                  <c:v>41893</c:v>
                </c:pt>
                <c:pt idx="385">
                  <c:v>41894</c:v>
                </c:pt>
                <c:pt idx="386">
                  <c:v>41896</c:v>
                </c:pt>
                <c:pt idx="387">
                  <c:v>41897</c:v>
                </c:pt>
                <c:pt idx="388">
                  <c:v>41898</c:v>
                </c:pt>
                <c:pt idx="389">
                  <c:v>41899</c:v>
                </c:pt>
                <c:pt idx="390">
                  <c:v>41900</c:v>
                </c:pt>
                <c:pt idx="391">
                  <c:v>41901</c:v>
                </c:pt>
                <c:pt idx="392">
                  <c:v>41903</c:v>
                </c:pt>
                <c:pt idx="393">
                  <c:v>41904</c:v>
                </c:pt>
                <c:pt idx="394">
                  <c:v>41905</c:v>
                </c:pt>
                <c:pt idx="395">
                  <c:v>41906</c:v>
                </c:pt>
                <c:pt idx="396">
                  <c:v>41907</c:v>
                </c:pt>
                <c:pt idx="397">
                  <c:v>41908</c:v>
                </c:pt>
                <c:pt idx="398">
                  <c:v>41910</c:v>
                </c:pt>
                <c:pt idx="399">
                  <c:v>41911</c:v>
                </c:pt>
                <c:pt idx="400">
                  <c:v>41912</c:v>
                </c:pt>
                <c:pt idx="401">
                  <c:v>41919</c:v>
                </c:pt>
                <c:pt idx="402">
                  <c:v>41920</c:v>
                </c:pt>
                <c:pt idx="403">
                  <c:v>41921</c:v>
                </c:pt>
                <c:pt idx="404">
                  <c:v>41922</c:v>
                </c:pt>
                <c:pt idx="405">
                  <c:v>41924</c:v>
                </c:pt>
                <c:pt idx="406">
                  <c:v>41925</c:v>
                </c:pt>
                <c:pt idx="407">
                  <c:v>41926</c:v>
                </c:pt>
                <c:pt idx="408">
                  <c:v>41927</c:v>
                </c:pt>
                <c:pt idx="409">
                  <c:v>41928</c:v>
                </c:pt>
                <c:pt idx="410">
                  <c:v>41929</c:v>
                </c:pt>
                <c:pt idx="411">
                  <c:v>41931</c:v>
                </c:pt>
                <c:pt idx="412">
                  <c:v>41932</c:v>
                </c:pt>
                <c:pt idx="413">
                  <c:v>41933</c:v>
                </c:pt>
                <c:pt idx="414">
                  <c:v>41934</c:v>
                </c:pt>
                <c:pt idx="415">
                  <c:v>41935</c:v>
                </c:pt>
                <c:pt idx="416">
                  <c:v>41936</c:v>
                </c:pt>
                <c:pt idx="417">
                  <c:v>41938</c:v>
                </c:pt>
                <c:pt idx="418">
                  <c:v>41939</c:v>
                </c:pt>
                <c:pt idx="419">
                  <c:v>41940</c:v>
                </c:pt>
                <c:pt idx="420">
                  <c:v>41941</c:v>
                </c:pt>
                <c:pt idx="421">
                  <c:v>41942</c:v>
                </c:pt>
                <c:pt idx="422">
                  <c:v>41943</c:v>
                </c:pt>
                <c:pt idx="423">
                  <c:v>41945</c:v>
                </c:pt>
                <c:pt idx="424">
                  <c:v>41946</c:v>
                </c:pt>
                <c:pt idx="425">
                  <c:v>41947</c:v>
                </c:pt>
                <c:pt idx="426">
                  <c:v>41948</c:v>
                </c:pt>
                <c:pt idx="427">
                  <c:v>41949</c:v>
                </c:pt>
                <c:pt idx="428">
                  <c:v>41950</c:v>
                </c:pt>
                <c:pt idx="429">
                  <c:v>41952</c:v>
                </c:pt>
                <c:pt idx="430">
                  <c:v>41953</c:v>
                </c:pt>
                <c:pt idx="431">
                  <c:v>41954</c:v>
                </c:pt>
                <c:pt idx="432">
                  <c:v>41955</c:v>
                </c:pt>
                <c:pt idx="433">
                  <c:v>41956</c:v>
                </c:pt>
                <c:pt idx="434">
                  <c:v>41957</c:v>
                </c:pt>
                <c:pt idx="435">
                  <c:v>41959</c:v>
                </c:pt>
                <c:pt idx="436">
                  <c:v>41960</c:v>
                </c:pt>
                <c:pt idx="437">
                  <c:v>41961</c:v>
                </c:pt>
                <c:pt idx="438">
                  <c:v>41962</c:v>
                </c:pt>
                <c:pt idx="439">
                  <c:v>41963</c:v>
                </c:pt>
                <c:pt idx="440">
                  <c:v>41964</c:v>
                </c:pt>
                <c:pt idx="441">
                  <c:v>41965</c:v>
                </c:pt>
                <c:pt idx="442">
                  <c:v>41966</c:v>
                </c:pt>
                <c:pt idx="443">
                  <c:v>41967</c:v>
                </c:pt>
                <c:pt idx="444">
                  <c:v>41968</c:v>
                </c:pt>
                <c:pt idx="445">
                  <c:v>41969</c:v>
                </c:pt>
                <c:pt idx="446">
                  <c:v>41970</c:v>
                </c:pt>
                <c:pt idx="447">
                  <c:v>41971</c:v>
                </c:pt>
                <c:pt idx="448">
                  <c:v>41973</c:v>
                </c:pt>
                <c:pt idx="449">
                  <c:v>41974</c:v>
                </c:pt>
                <c:pt idx="450">
                  <c:v>41975</c:v>
                </c:pt>
                <c:pt idx="451">
                  <c:v>41976</c:v>
                </c:pt>
                <c:pt idx="452">
                  <c:v>41977</c:v>
                </c:pt>
                <c:pt idx="453">
                  <c:v>41978</c:v>
                </c:pt>
                <c:pt idx="454">
                  <c:v>41980</c:v>
                </c:pt>
                <c:pt idx="455">
                  <c:v>41981</c:v>
                </c:pt>
                <c:pt idx="456">
                  <c:v>41982</c:v>
                </c:pt>
                <c:pt idx="457">
                  <c:v>41983</c:v>
                </c:pt>
                <c:pt idx="458">
                  <c:v>41984</c:v>
                </c:pt>
                <c:pt idx="459">
                  <c:v>41985</c:v>
                </c:pt>
                <c:pt idx="460">
                  <c:v>41987</c:v>
                </c:pt>
                <c:pt idx="461">
                  <c:v>41988</c:v>
                </c:pt>
                <c:pt idx="462">
                  <c:v>41989</c:v>
                </c:pt>
                <c:pt idx="463">
                  <c:v>41990</c:v>
                </c:pt>
                <c:pt idx="464">
                  <c:v>41991</c:v>
                </c:pt>
                <c:pt idx="465">
                  <c:v>41992</c:v>
                </c:pt>
                <c:pt idx="466">
                  <c:v>41994</c:v>
                </c:pt>
                <c:pt idx="467">
                  <c:v>41995</c:v>
                </c:pt>
                <c:pt idx="468">
                  <c:v>41996</c:v>
                </c:pt>
                <c:pt idx="469">
                  <c:v>41997</c:v>
                </c:pt>
                <c:pt idx="470">
                  <c:v>41998</c:v>
                </c:pt>
                <c:pt idx="471">
                  <c:v>41999</c:v>
                </c:pt>
                <c:pt idx="472">
                  <c:v>42001</c:v>
                </c:pt>
                <c:pt idx="473">
                  <c:v>42002</c:v>
                </c:pt>
                <c:pt idx="474">
                  <c:v>42003</c:v>
                </c:pt>
                <c:pt idx="475">
                  <c:v>42004</c:v>
                </c:pt>
                <c:pt idx="476">
                  <c:v>42008</c:v>
                </c:pt>
                <c:pt idx="477">
                  <c:v>42009</c:v>
                </c:pt>
                <c:pt idx="478">
                  <c:v>42010</c:v>
                </c:pt>
                <c:pt idx="479">
                  <c:v>42011</c:v>
                </c:pt>
                <c:pt idx="480">
                  <c:v>42012</c:v>
                </c:pt>
                <c:pt idx="481">
                  <c:v>42013</c:v>
                </c:pt>
                <c:pt idx="482">
                  <c:v>42015</c:v>
                </c:pt>
                <c:pt idx="483">
                  <c:v>42016</c:v>
                </c:pt>
                <c:pt idx="484">
                  <c:v>42017</c:v>
                </c:pt>
                <c:pt idx="485">
                  <c:v>42018</c:v>
                </c:pt>
                <c:pt idx="486">
                  <c:v>42019</c:v>
                </c:pt>
                <c:pt idx="487">
                  <c:v>42020</c:v>
                </c:pt>
                <c:pt idx="488">
                  <c:v>42022</c:v>
                </c:pt>
                <c:pt idx="489">
                  <c:v>42023</c:v>
                </c:pt>
                <c:pt idx="490">
                  <c:v>42024</c:v>
                </c:pt>
                <c:pt idx="491">
                  <c:v>42025</c:v>
                </c:pt>
                <c:pt idx="492">
                  <c:v>42026</c:v>
                </c:pt>
                <c:pt idx="493">
                  <c:v>42027</c:v>
                </c:pt>
                <c:pt idx="494">
                  <c:v>42029</c:v>
                </c:pt>
                <c:pt idx="495">
                  <c:v>42030</c:v>
                </c:pt>
                <c:pt idx="496">
                  <c:v>42031</c:v>
                </c:pt>
                <c:pt idx="497">
                  <c:v>42032</c:v>
                </c:pt>
                <c:pt idx="498">
                  <c:v>42033</c:v>
                </c:pt>
                <c:pt idx="499">
                  <c:v>42034</c:v>
                </c:pt>
                <c:pt idx="500">
                  <c:v>42035</c:v>
                </c:pt>
                <c:pt idx="501">
                  <c:v>42036</c:v>
                </c:pt>
                <c:pt idx="502">
                  <c:v>42037</c:v>
                </c:pt>
                <c:pt idx="503">
                  <c:v>42038</c:v>
                </c:pt>
                <c:pt idx="504">
                  <c:v>42039</c:v>
                </c:pt>
                <c:pt idx="505">
                  <c:v>42040</c:v>
                </c:pt>
                <c:pt idx="506">
                  <c:v>42041</c:v>
                </c:pt>
                <c:pt idx="507">
                  <c:v>42043</c:v>
                </c:pt>
                <c:pt idx="508">
                  <c:v>42044</c:v>
                </c:pt>
                <c:pt idx="509">
                  <c:v>42045</c:v>
                </c:pt>
                <c:pt idx="510">
                  <c:v>42046</c:v>
                </c:pt>
                <c:pt idx="511">
                  <c:v>42047</c:v>
                </c:pt>
                <c:pt idx="512">
                  <c:v>42048</c:v>
                </c:pt>
                <c:pt idx="513">
                  <c:v>42050</c:v>
                </c:pt>
                <c:pt idx="514">
                  <c:v>42051</c:v>
                </c:pt>
                <c:pt idx="515">
                  <c:v>42052</c:v>
                </c:pt>
                <c:pt idx="516">
                  <c:v>42059</c:v>
                </c:pt>
                <c:pt idx="517">
                  <c:v>42060</c:v>
                </c:pt>
                <c:pt idx="518">
                  <c:v>42061</c:v>
                </c:pt>
                <c:pt idx="519">
                  <c:v>42062</c:v>
                </c:pt>
                <c:pt idx="520">
                  <c:v>42063</c:v>
                </c:pt>
                <c:pt idx="521">
                  <c:v>42064</c:v>
                </c:pt>
                <c:pt idx="522">
                  <c:v>42065</c:v>
                </c:pt>
                <c:pt idx="523">
                  <c:v>42066</c:v>
                </c:pt>
                <c:pt idx="524">
                  <c:v>42067</c:v>
                </c:pt>
                <c:pt idx="525">
                  <c:v>42068</c:v>
                </c:pt>
                <c:pt idx="526">
                  <c:v>42069</c:v>
                </c:pt>
                <c:pt idx="527">
                  <c:v>42071</c:v>
                </c:pt>
                <c:pt idx="528">
                  <c:v>42072</c:v>
                </c:pt>
                <c:pt idx="529">
                  <c:v>42073</c:v>
                </c:pt>
                <c:pt idx="530">
                  <c:v>42074</c:v>
                </c:pt>
                <c:pt idx="531">
                  <c:v>42075</c:v>
                </c:pt>
                <c:pt idx="532">
                  <c:v>42076</c:v>
                </c:pt>
                <c:pt idx="533">
                  <c:v>42078</c:v>
                </c:pt>
                <c:pt idx="534">
                  <c:v>42079</c:v>
                </c:pt>
                <c:pt idx="535">
                  <c:v>42080</c:v>
                </c:pt>
                <c:pt idx="536">
                  <c:v>42081</c:v>
                </c:pt>
                <c:pt idx="537">
                  <c:v>42082</c:v>
                </c:pt>
                <c:pt idx="538">
                  <c:v>42083</c:v>
                </c:pt>
                <c:pt idx="539">
                  <c:v>42085</c:v>
                </c:pt>
                <c:pt idx="540">
                  <c:v>42086</c:v>
                </c:pt>
                <c:pt idx="541">
                  <c:v>42087</c:v>
                </c:pt>
                <c:pt idx="542">
                  <c:v>42088</c:v>
                </c:pt>
                <c:pt idx="543">
                  <c:v>42089</c:v>
                </c:pt>
                <c:pt idx="544">
                  <c:v>42090</c:v>
                </c:pt>
                <c:pt idx="545">
                  <c:v>42092</c:v>
                </c:pt>
                <c:pt idx="546">
                  <c:v>42093</c:v>
                </c:pt>
                <c:pt idx="547">
                  <c:v>42094</c:v>
                </c:pt>
                <c:pt idx="548">
                  <c:v>42095</c:v>
                </c:pt>
                <c:pt idx="549">
                  <c:v>42096</c:v>
                </c:pt>
                <c:pt idx="550">
                  <c:v>42097</c:v>
                </c:pt>
                <c:pt idx="551">
                  <c:v>42100</c:v>
                </c:pt>
                <c:pt idx="552">
                  <c:v>42101</c:v>
                </c:pt>
                <c:pt idx="553">
                  <c:v>42102</c:v>
                </c:pt>
                <c:pt idx="554">
                  <c:v>42103</c:v>
                </c:pt>
                <c:pt idx="555">
                  <c:v>42104</c:v>
                </c:pt>
                <c:pt idx="556">
                  <c:v>42106</c:v>
                </c:pt>
                <c:pt idx="557">
                  <c:v>42107</c:v>
                </c:pt>
                <c:pt idx="558">
                  <c:v>42108</c:v>
                </c:pt>
                <c:pt idx="559">
                  <c:v>42109</c:v>
                </c:pt>
                <c:pt idx="560">
                  <c:v>42110</c:v>
                </c:pt>
                <c:pt idx="561">
                  <c:v>42111</c:v>
                </c:pt>
                <c:pt idx="562">
                  <c:v>42113</c:v>
                </c:pt>
                <c:pt idx="563">
                  <c:v>42114</c:v>
                </c:pt>
                <c:pt idx="564">
                  <c:v>42115</c:v>
                </c:pt>
                <c:pt idx="565">
                  <c:v>42116</c:v>
                </c:pt>
                <c:pt idx="566">
                  <c:v>42117</c:v>
                </c:pt>
                <c:pt idx="567">
                  <c:v>42118</c:v>
                </c:pt>
                <c:pt idx="568">
                  <c:v>42120</c:v>
                </c:pt>
                <c:pt idx="569">
                  <c:v>42121</c:v>
                </c:pt>
                <c:pt idx="570">
                  <c:v>42122</c:v>
                </c:pt>
                <c:pt idx="571">
                  <c:v>42123</c:v>
                </c:pt>
                <c:pt idx="572">
                  <c:v>42124</c:v>
                </c:pt>
                <c:pt idx="573">
                  <c:v>42127</c:v>
                </c:pt>
                <c:pt idx="574">
                  <c:v>42128</c:v>
                </c:pt>
                <c:pt idx="575">
                  <c:v>42129</c:v>
                </c:pt>
                <c:pt idx="576">
                  <c:v>42130</c:v>
                </c:pt>
                <c:pt idx="577">
                  <c:v>42131</c:v>
                </c:pt>
                <c:pt idx="578">
                  <c:v>42132</c:v>
                </c:pt>
                <c:pt idx="579">
                  <c:v>42134</c:v>
                </c:pt>
                <c:pt idx="580">
                  <c:v>42135</c:v>
                </c:pt>
                <c:pt idx="581">
                  <c:v>42136</c:v>
                </c:pt>
                <c:pt idx="582">
                  <c:v>42137</c:v>
                </c:pt>
                <c:pt idx="583">
                  <c:v>42138</c:v>
                </c:pt>
                <c:pt idx="584">
                  <c:v>42139</c:v>
                </c:pt>
                <c:pt idx="585">
                  <c:v>42141</c:v>
                </c:pt>
                <c:pt idx="586">
                  <c:v>42142</c:v>
                </c:pt>
                <c:pt idx="587">
                  <c:v>42143</c:v>
                </c:pt>
                <c:pt idx="588">
                  <c:v>42144</c:v>
                </c:pt>
                <c:pt idx="589">
                  <c:v>42145</c:v>
                </c:pt>
                <c:pt idx="590">
                  <c:v>42146</c:v>
                </c:pt>
                <c:pt idx="591">
                  <c:v>42148</c:v>
                </c:pt>
                <c:pt idx="592">
                  <c:v>42149</c:v>
                </c:pt>
                <c:pt idx="593">
                  <c:v>42150</c:v>
                </c:pt>
                <c:pt idx="594">
                  <c:v>42151</c:v>
                </c:pt>
                <c:pt idx="595">
                  <c:v>42152</c:v>
                </c:pt>
                <c:pt idx="596">
                  <c:v>42153</c:v>
                </c:pt>
                <c:pt idx="597">
                  <c:v>42155</c:v>
                </c:pt>
                <c:pt idx="598">
                  <c:v>42156</c:v>
                </c:pt>
                <c:pt idx="599">
                  <c:v>42157</c:v>
                </c:pt>
                <c:pt idx="600">
                  <c:v>42158</c:v>
                </c:pt>
                <c:pt idx="601">
                  <c:v>42159</c:v>
                </c:pt>
                <c:pt idx="602">
                  <c:v>42160</c:v>
                </c:pt>
                <c:pt idx="603">
                  <c:v>42162</c:v>
                </c:pt>
                <c:pt idx="604">
                  <c:v>42163</c:v>
                </c:pt>
                <c:pt idx="605">
                  <c:v>42164</c:v>
                </c:pt>
                <c:pt idx="606">
                  <c:v>42165</c:v>
                </c:pt>
                <c:pt idx="607">
                  <c:v>42166</c:v>
                </c:pt>
                <c:pt idx="608">
                  <c:v>42167</c:v>
                </c:pt>
                <c:pt idx="609">
                  <c:v>42169</c:v>
                </c:pt>
                <c:pt idx="610">
                  <c:v>42170</c:v>
                </c:pt>
                <c:pt idx="611">
                  <c:v>42171</c:v>
                </c:pt>
                <c:pt idx="612">
                  <c:v>42172</c:v>
                </c:pt>
                <c:pt idx="613">
                  <c:v>42173</c:v>
                </c:pt>
                <c:pt idx="614">
                  <c:v>42174</c:v>
                </c:pt>
                <c:pt idx="615">
                  <c:v>42177</c:v>
                </c:pt>
                <c:pt idx="616">
                  <c:v>42178</c:v>
                </c:pt>
                <c:pt idx="617">
                  <c:v>42179</c:v>
                </c:pt>
                <c:pt idx="618">
                  <c:v>42180</c:v>
                </c:pt>
                <c:pt idx="619">
                  <c:v>42181</c:v>
                </c:pt>
                <c:pt idx="620">
                  <c:v>42183</c:v>
                </c:pt>
                <c:pt idx="621">
                  <c:v>42184</c:v>
                </c:pt>
                <c:pt idx="622">
                  <c:v>42185</c:v>
                </c:pt>
                <c:pt idx="623">
                  <c:v>42186</c:v>
                </c:pt>
                <c:pt idx="624">
                  <c:v>42187</c:v>
                </c:pt>
                <c:pt idx="625">
                  <c:v>42188</c:v>
                </c:pt>
                <c:pt idx="626">
                  <c:v>42190</c:v>
                </c:pt>
                <c:pt idx="627">
                  <c:v>42191</c:v>
                </c:pt>
                <c:pt idx="628">
                  <c:v>42192</c:v>
                </c:pt>
                <c:pt idx="629">
                  <c:v>42193</c:v>
                </c:pt>
                <c:pt idx="630">
                  <c:v>42194</c:v>
                </c:pt>
                <c:pt idx="631">
                  <c:v>42195</c:v>
                </c:pt>
                <c:pt idx="632">
                  <c:v>42197</c:v>
                </c:pt>
                <c:pt idx="633">
                  <c:v>42198</c:v>
                </c:pt>
                <c:pt idx="634">
                  <c:v>42199</c:v>
                </c:pt>
                <c:pt idx="635">
                  <c:v>42200</c:v>
                </c:pt>
                <c:pt idx="636">
                  <c:v>42201</c:v>
                </c:pt>
                <c:pt idx="637">
                  <c:v>42202</c:v>
                </c:pt>
                <c:pt idx="638">
                  <c:v>42204</c:v>
                </c:pt>
                <c:pt idx="639">
                  <c:v>42205</c:v>
                </c:pt>
                <c:pt idx="640">
                  <c:v>42206</c:v>
                </c:pt>
                <c:pt idx="641">
                  <c:v>42207</c:v>
                </c:pt>
                <c:pt idx="642">
                  <c:v>42208</c:v>
                </c:pt>
                <c:pt idx="643">
                  <c:v>42209</c:v>
                </c:pt>
                <c:pt idx="644">
                  <c:v>42211</c:v>
                </c:pt>
                <c:pt idx="645">
                  <c:v>42212</c:v>
                </c:pt>
                <c:pt idx="646">
                  <c:v>42213</c:v>
                </c:pt>
                <c:pt idx="647">
                  <c:v>42214</c:v>
                </c:pt>
                <c:pt idx="648">
                  <c:v>42215</c:v>
                </c:pt>
                <c:pt idx="649">
                  <c:v>42216</c:v>
                </c:pt>
                <c:pt idx="650">
                  <c:v>42218</c:v>
                </c:pt>
                <c:pt idx="651">
                  <c:v>42219</c:v>
                </c:pt>
                <c:pt idx="652">
                  <c:v>42220</c:v>
                </c:pt>
                <c:pt idx="653">
                  <c:v>42221</c:v>
                </c:pt>
                <c:pt idx="654">
                  <c:v>42222</c:v>
                </c:pt>
                <c:pt idx="655">
                  <c:v>42223</c:v>
                </c:pt>
                <c:pt idx="656">
                  <c:v>42225</c:v>
                </c:pt>
                <c:pt idx="657">
                  <c:v>42226</c:v>
                </c:pt>
                <c:pt idx="658">
                  <c:v>42227</c:v>
                </c:pt>
                <c:pt idx="659">
                  <c:v>42228</c:v>
                </c:pt>
                <c:pt idx="660">
                  <c:v>42229</c:v>
                </c:pt>
                <c:pt idx="661">
                  <c:v>42230</c:v>
                </c:pt>
                <c:pt idx="662">
                  <c:v>42232</c:v>
                </c:pt>
                <c:pt idx="663">
                  <c:v>42233</c:v>
                </c:pt>
                <c:pt idx="664">
                  <c:v>42234</c:v>
                </c:pt>
                <c:pt idx="665">
                  <c:v>42235</c:v>
                </c:pt>
                <c:pt idx="666">
                  <c:v>42236</c:v>
                </c:pt>
                <c:pt idx="667">
                  <c:v>42237</c:v>
                </c:pt>
                <c:pt idx="668">
                  <c:v>42239</c:v>
                </c:pt>
                <c:pt idx="669">
                  <c:v>42240</c:v>
                </c:pt>
                <c:pt idx="670">
                  <c:v>42241</c:v>
                </c:pt>
                <c:pt idx="671">
                  <c:v>42242</c:v>
                </c:pt>
                <c:pt idx="672">
                  <c:v>42243</c:v>
                </c:pt>
                <c:pt idx="673">
                  <c:v>42244</c:v>
                </c:pt>
                <c:pt idx="674">
                  <c:v>42246</c:v>
                </c:pt>
                <c:pt idx="675">
                  <c:v>42247</c:v>
                </c:pt>
                <c:pt idx="676">
                  <c:v>42248</c:v>
                </c:pt>
                <c:pt idx="677">
                  <c:v>42249</c:v>
                </c:pt>
                <c:pt idx="678">
                  <c:v>42253</c:v>
                </c:pt>
                <c:pt idx="679">
                  <c:v>42254</c:v>
                </c:pt>
                <c:pt idx="680">
                  <c:v>42255</c:v>
                </c:pt>
                <c:pt idx="681">
                  <c:v>42256</c:v>
                </c:pt>
                <c:pt idx="682">
                  <c:v>42257</c:v>
                </c:pt>
                <c:pt idx="683">
                  <c:v>42258</c:v>
                </c:pt>
                <c:pt idx="684">
                  <c:v>42260</c:v>
                </c:pt>
                <c:pt idx="685">
                  <c:v>42261</c:v>
                </c:pt>
                <c:pt idx="686">
                  <c:v>42262</c:v>
                </c:pt>
                <c:pt idx="687">
                  <c:v>42263</c:v>
                </c:pt>
                <c:pt idx="688">
                  <c:v>42264</c:v>
                </c:pt>
                <c:pt idx="689">
                  <c:v>42265</c:v>
                </c:pt>
                <c:pt idx="690">
                  <c:v>42267</c:v>
                </c:pt>
                <c:pt idx="691">
                  <c:v>42268</c:v>
                </c:pt>
                <c:pt idx="692">
                  <c:v>42269</c:v>
                </c:pt>
                <c:pt idx="693">
                  <c:v>42270</c:v>
                </c:pt>
                <c:pt idx="694">
                  <c:v>42271</c:v>
                </c:pt>
                <c:pt idx="695">
                  <c:v>42272</c:v>
                </c:pt>
                <c:pt idx="696">
                  <c:v>42274</c:v>
                </c:pt>
                <c:pt idx="697">
                  <c:v>42275</c:v>
                </c:pt>
                <c:pt idx="698">
                  <c:v>42276</c:v>
                </c:pt>
                <c:pt idx="699">
                  <c:v>42277</c:v>
                </c:pt>
                <c:pt idx="700">
                  <c:v>42284</c:v>
                </c:pt>
                <c:pt idx="701">
                  <c:v>42285</c:v>
                </c:pt>
                <c:pt idx="702">
                  <c:v>42286</c:v>
                </c:pt>
                <c:pt idx="703">
                  <c:v>42288</c:v>
                </c:pt>
                <c:pt idx="704">
                  <c:v>42289</c:v>
                </c:pt>
                <c:pt idx="705">
                  <c:v>42290</c:v>
                </c:pt>
                <c:pt idx="706">
                  <c:v>42291</c:v>
                </c:pt>
                <c:pt idx="707">
                  <c:v>42292</c:v>
                </c:pt>
                <c:pt idx="708">
                  <c:v>42293</c:v>
                </c:pt>
                <c:pt idx="709">
                  <c:v>42295</c:v>
                </c:pt>
                <c:pt idx="710">
                  <c:v>42296</c:v>
                </c:pt>
                <c:pt idx="711">
                  <c:v>42297</c:v>
                </c:pt>
                <c:pt idx="712">
                  <c:v>42298</c:v>
                </c:pt>
                <c:pt idx="713">
                  <c:v>42299</c:v>
                </c:pt>
                <c:pt idx="714">
                  <c:v>42300</c:v>
                </c:pt>
                <c:pt idx="715">
                  <c:v>42301</c:v>
                </c:pt>
                <c:pt idx="716">
                  <c:v>42302</c:v>
                </c:pt>
                <c:pt idx="717">
                  <c:v>42303</c:v>
                </c:pt>
                <c:pt idx="718">
                  <c:v>42304</c:v>
                </c:pt>
                <c:pt idx="719">
                  <c:v>42305</c:v>
                </c:pt>
                <c:pt idx="720">
                  <c:v>42306</c:v>
                </c:pt>
                <c:pt idx="721">
                  <c:v>42307</c:v>
                </c:pt>
                <c:pt idx="722">
                  <c:v>42308</c:v>
                </c:pt>
                <c:pt idx="723">
                  <c:v>42309</c:v>
                </c:pt>
                <c:pt idx="724">
                  <c:v>42310</c:v>
                </c:pt>
                <c:pt idx="725">
                  <c:v>42311</c:v>
                </c:pt>
                <c:pt idx="726">
                  <c:v>42312</c:v>
                </c:pt>
                <c:pt idx="727">
                  <c:v>42313</c:v>
                </c:pt>
                <c:pt idx="728">
                  <c:v>42314</c:v>
                </c:pt>
                <c:pt idx="729">
                  <c:v>42316</c:v>
                </c:pt>
                <c:pt idx="730">
                  <c:v>42317</c:v>
                </c:pt>
                <c:pt idx="731">
                  <c:v>42318</c:v>
                </c:pt>
                <c:pt idx="732">
                  <c:v>42319</c:v>
                </c:pt>
                <c:pt idx="733">
                  <c:v>42320</c:v>
                </c:pt>
                <c:pt idx="734">
                  <c:v>42321</c:v>
                </c:pt>
                <c:pt idx="735">
                  <c:v>42323</c:v>
                </c:pt>
                <c:pt idx="736">
                  <c:v>42324</c:v>
                </c:pt>
                <c:pt idx="737">
                  <c:v>42325</c:v>
                </c:pt>
                <c:pt idx="738">
                  <c:v>42326</c:v>
                </c:pt>
                <c:pt idx="739">
                  <c:v>42327</c:v>
                </c:pt>
                <c:pt idx="740">
                  <c:v>42328</c:v>
                </c:pt>
                <c:pt idx="741">
                  <c:v>42330</c:v>
                </c:pt>
                <c:pt idx="742">
                  <c:v>42331</c:v>
                </c:pt>
                <c:pt idx="743">
                  <c:v>42332</c:v>
                </c:pt>
                <c:pt idx="744">
                  <c:v>42333</c:v>
                </c:pt>
                <c:pt idx="745">
                  <c:v>42334</c:v>
                </c:pt>
                <c:pt idx="746">
                  <c:v>42335</c:v>
                </c:pt>
                <c:pt idx="747">
                  <c:v>42337</c:v>
                </c:pt>
                <c:pt idx="748">
                  <c:v>42338</c:v>
                </c:pt>
                <c:pt idx="749">
                  <c:v>42339</c:v>
                </c:pt>
                <c:pt idx="750">
                  <c:v>42340</c:v>
                </c:pt>
                <c:pt idx="751">
                  <c:v>42341</c:v>
                </c:pt>
                <c:pt idx="752">
                  <c:v>42342</c:v>
                </c:pt>
                <c:pt idx="753">
                  <c:v>42344</c:v>
                </c:pt>
                <c:pt idx="754">
                  <c:v>42345</c:v>
                </c:pt>
                <c:pt idx="755">
                  <c:v>42346</c:v>
                </c:pt>
                <c:pt idx="756">
                  <c:v>42347</c:v>
                </c:pt>
                <c:pt idx="757">
                  <c:v>42348</c:v>
                </c:pt>
                <c:pt idx="758">
                  <c:v>42349</c:v>
                </c:pt>
                <c:pt idx="759">
                  <c:v>42351</c:v>
                </c:pt>
                <c:pt idx="760">
                  <c:v>42352</c:v>
                </c:pt>
                <c:pt idx="761">
                  <c:v>42353</c:v>
                </c:pt>
                <c:pt idx="762">
                  <c:v>42354</c:v>
                </c:pt>
                <c:pt idx="763">
                  <c:v>42355</c:v>
                </c:pt>
                <c:pt idx="764">
                  <c:v>42356</c:v>
                </c:pt>
                <c:pt idx="765">
                  <c:v>42358</c:v>
                </c:pt>
                <c:pt idx="766">
                  <c:v>42359</c:v>
                </c:pt>
                <c:pt idx="767">
                  <c:v>42360</c:v>
                </c:pt>
                <c:pt idx="768">
                  <c:v>42361</c:v>
                </c:pt>
                <c:pt idx="769">
                  <c:v>42362</c:v>
                </c:pt>
                <c:pt idx="770">
                  <c:v>42363</c:v>
                </c:pt>
                <c:pt idx="771">
                  <c:v>42365</c:v>
                </c:pt>
                <c:pt idx="772">
                  <c:v>42366</c:v>
                </c:pt>
                <c:pt idx="773">
                  <c:v>42367</c:v>
                </c:pt>
                <c:pt idx="774">
                  <c:v>42368</c:v>
                </c:pt>
                <c:pt idx="775">
                  <c:v>42369</c:v>
                </c:pt>
              </c:numCache>
            </c:numRef>
          </c:cat>
          <c:val>
            <c:numRef>
              <c:f>Sheet2!$B$2:$B$777</c:f>
              <c:numCache>
                <c:formatCode>###,###,###,###,##0.00_ </c:formatCode>
                <c:ptCount val="776"/>
                <c:pt idx="0">
                  <c:v>3</c:v>
                </c:pt>
                <c:pt idx="1">
                  <c:v>3</c:v>
                </c:pt>
                <c:pt idx="2">
                  <c:v>3</c:v>
                </c:pt>
                <c:pt idx="3">
                  <c:v>3</c:v>
                </c:pt>
                <c:pt idx="4">
                  <c:v>3</c:v>
                </c:pt>
                <c:pt idx="5">
                  <c:v>3</c:v>
                </c:pt>
                <c:pt idx="6">
                  <c:v>3</c:v>
                </c:pt>
                <c:pt idx="7">
                  <c:v>3</c:v>
                </c:pt>
                <c:pt idx="8">
                  <c:v>3</c:v>
                </c:pt>
                <c:pt idx="9">
                  <c:v>3</c:v>
                </c:pt>
                <c:pt idx="10">
                  <c:v>3</c:v>
                </c:pt>
                <c:pt idx="11">
                  <c:v>3</c:v>
                </c:pt>
                <c:pt idx="12">
                  <c:v>3</c:v>
                </c:pt>
                <c:pt idx="13">
                  <c:v>3</c:v>
                </c:pt>
                <c:pt idx="14">
                  <c:v>3</c:v>
                </c:pt>
                <c:pt idx="15">
                  <c:v>3</c:v>
                </c:pt>
                <c:pt idx="16">
                  <c:v>3</c:v>
                </c:pt>
                <c:pt idx="17">
                  <c:v>3</c:v>
                </c:pt>
                <c:pt idx="18">
                  <c:v>3</c:v>
                </c:pt>
                <c:pt idx="19">
                  <c:v>3</c:v>
                </c:pt>
                <c:pt idx="20">
                  <c:v>3</c:v>
                </c:pt>
                <c:pt idx="21">
                  <c:v>3</c:v>
                </c:pt>
                <c:pt idx="22">
                  <c:v>3</c:v>
                </c:pt>
                <c:pt idx="23">
                  <c:v>3</c:v>
                </c:pt>
                <c:pt idx="24">
                  <c:v>3</c:v>
                </c:pt>
                <c:pt idx="25">
                  <c:v>3</c:v>
                </c:pt>
                <c:pt idx="26">
                  <c:v>3</c:v>
                </c:pt>
                <c:pt idx="27">
                  <c:v>3</c:v>
                </c:pt>
                <c:pt idx="28">
                  <c:v>3</c:v>
                </c:pt>
                <c:pt idx="29">
                  <c:v>3</c:v>
                </c:pt>
                <c:pt idx="30">
                  <c:v>3</c:v>
                </c:pt>
                <c:pt idx="31">
                  <c:v>3</c:v>
                </c:pt>
                <c:pt idx="32">
                  <c:v>3</c:v>
                </c:pt>
                <c:pt idx="33">
                  <c:v>3</c:v>
                </c:pt>
                <c:pt idx="34">
                  <c:v>3</c:v>
                </c:pt>
                <c:pt idx="35">
                  <c:v>3</c:v>
                </c:pt>
                <c:pt idx="36">
                  <c:v>3</c:v>
                </c:pt>
                <c:pt idx="37">
                  <c:v>3</c:v>
                </c:pt>
                <c:pt idx="38">
                  <c:v>3</c:v>
                </c:pt>
                <c:pt idx="39">
                  <c:v>3</c:v>
                </c:pt>
                <c:pt idx="40">
                  <c:v>3</c:v>
                </c:pt>
                <c:pt idx="41">
                  <c:v>3</c:v>
                </c:pt>
                <c:pt idx="42">
                  <c:v>3</c:v>
                </c:pt>
                <c:pt idx="43">
                  <c:v>3</c:v>
                </c:pt>
                <c:pt idx="44">
                  <c:v>3</c:v>
                </c:pt>
                <c:pt idx="45">
                  <c:v>3</c:v>
                </c:pt>
                <c:pt idx="46">
                  <c:v>3</c:v>
                </c:pt>
                <c:pt idx="47">
                  <c:v>3</c:v>
                </c:pt>
                <c:pt idx="48">
                  <c:v>3</c:v>
                </c:pt>
                <c:pt idx="49">
                  <c:v>3</c:v>
                </c:pt>
                <c:pt idx="50">
                  <c:v>3</c:v>
                </c:pt>
                <c:pt idx="51">
                  <c:v>3</c:v>
                </c:pt>
                <c:pt idx="52">
                  <c:v>3</c:v>
                </c:pt>
                <c:pt idx="53">
                  <c:v>3</c:v>
                </c:pt>
                <c:pt idx="54">
                  <c:v>3</c:v>
                </c:pt>
                <c:pt idx="55">
                  <c:v>3</c:v>
                </c:pt>
                <c:pt idx="56">
                  <c:v>3</c:v>
                </c:pt>
                <c:pt idx="57">
                  <c:v>3</c:v>
                </c:pt>
                <c:pt idx="58">
                  <c:v>3</c:v>
                </c:pt>
                <c:pt idx="59">
                  <c:v>3</c:v>
                </c:pt>
                <c:pt idx="60">
                  <c:v>3</c:v>
                </c:pt>
                <c:pt idx="61">
                  <c:v>3</c:v>
                </c:pt>
                <c:pt idx="62">
                  <c:v>3</c:v>
                </c:pt>
                <c:pt idx="63">
                  <c:v>3</c:v>
                </c:pt>
                <c:pt idx="64">
                  <c:v>3</c:v>
                </c:pt>
                <c:pt idx="65">
                  <c:v>3</c:v>
                </c:pt>
                <c:pt idx="66">
                  <c:v>3</c:v>
                </c:pt>
                <c:pt idx="67">
                  <c:v>3</c:v>
                </c:pt>
                <c:pt idx="68">
                  <c:v>3</c:v>
                </c:pt>
                <c:pt idx="69">
                  <c:v>3</c:v>
                </c:pt>
                <c:pt idx="70">
                  <c:v>3</c:v>
                </c:pt>
                <c:pt idx="71">
                  <c:v>3</c:v>
                </c:pt>
                <c:pt idx="72">
                  <c:v>3</c:v>
                </c:pt>
                <c:pt idx="73">
                  <c:v>3</c:v>
                </c:pt>
                <c:pt idx="74">
                  <c:v>3</c:v>
                </c:pt>
                <c:pt idx="75">
                  <c:v>3</c:v>
                </c:pt>
                <c:pt idx="76">
                  <c:v>3</c:v>
                </c:pt>
                <c:pt idx="77">
                  <c:v>3</c:v>
                </c:pt>
                <c:pt idx="78">
                  <c:v>3</c:v>
                </c:pt>
                <c:pt idx="79">
                  <c:v>3</c:v>
                </c:pt>
                <c:pt idx="80">
                  <c:v>3</c:v>
                </c:pt>
                <c:pt idx="81">
                  <c:v>3</c:v>
                </c:pt>
                <c:pt idx="82">
                  <c:v>3</c:v>
                </c:pt>
                <c:pt idx="83">
                  <c:v>3</c:v>
                </c:pt>
                <c:pt idx="84">
                  <c:v>3</c:v>
                </c:pt>
                <c:pt idx="85">
                  <c:v>3</c:v>
                </c:pt>
                <c:pt idx="86">
                  <c:v>3</c:v>
                </c:pt>
                <c:pt idx="87">
                  <c:v>3</c:v>
                </c:pt>
                <c:pt idx="88">
                  <c:v>3</c:v>
                </c:pt>
                <c:pt idx="89">
                  <c:v>3</c:v>
                </c:pt>
                <c:pt idx="90">
                  <c:v>3</c:v>
                </c:pt>
                <c:pt idx="91">
                  <c:v>3</c:v>
                </c:pt>
                <c:pt idx="92">
                  <c:v>3</c:v>
                </c:pt>
                <c:pt idx="93">
                  <c:v>3</c:v>
                </c:pt>
                <c:pt idx="94">
                  <c:v>3</c:v>
                </c:pt>
                <c:pt idx="95">
                  <c:v>3</c:v>
                </c:pt>
                <c:pt idx="96">
                  <c:v>3</c:v>
                </c:pt>
                <c:pt idx="97">
                  <c:v>3</c:v>
                </c:pt>
                <c:pt idx="98">
                  <c:v>3</c:v>
                </c:pt>
                <c:pt idx="99">
                  <c:v>3</c:v>
                </c:pt>
                <c:pt idx="100">
                  <c:v>3</c:v>
                </c:pt>
                <c:pt idx="101">
                  <c:v>3</c:v>
                </c:pt>
                <c:pt idx="102">
                  <c:v>3</c:v>
                </c:pt>
                <c:pt idx="103">
                  <c:v>3</c:v>
                </c:pt>
                <c:pt idx="104">
                  <c:v>3</c:v>
                </c:pt>
                <c:pt idx="105">
                  <c:v>3</c:v>
                </c:pt>
                <c:pt idx="106">
                  <c:v>3</c:v>
                </c:pt>
                <c:pt idx="107">
                  <c:v>3</c:v>
                </c:pt>
                <c:pt idx="108">
                  <c:v>3</c:v>
                </c:pt>
                <c:pt idx="109">
                  <c:v>3</c:v>
                </c:pt>
                <c:pt idx="110">
                  <c:v>3</c:v>
                </c:pt>
                <c:pt idx="111">
                  <c:v>3</c:v>
                </c:pt>
                <c:pt idx="112">
                  <c:v>3</c:v>
                </c:pt>
                <c:pt idx="113">
                  <c:v>3</c:v>
                </c:pt>
                <c:pt idx="114">
                  <c:v>3</c:v>
                </c:pt>
                <c:pt idx="115">
                  <c:v>3</c:v>
                </c:pt>
                <c:pt idx="116">
                  <c:v>3</c:v>
                </c:pt>
                <c:pt idx="117">
                  <c:v>3</c:v>
                </c:pt>
                <c:pt idx="118">
                  <c:v>3</c:v>
                </c:pt>
                <c:pt idx="119">
                  <c:v>3</c:v>
                </c:pt>
                <c:pt idx="120">
                  <c:v>3</c:v>
                </c:pt>
                <c:pt idx="121">
                  <c:v>3</c:v>
                </c:pt>
                <c:pt idx="122">
                  <c:v>3</c:v>
                </c:pt>
                <c:pt idx="123">
                  <c:v>3</c:v>
                </c:pt>
                <c:pt idx="124">
                  <c:v>3</c:v>
                </c:pt>
                <c:pt idx="125">
                  <c:v>3</c:v>
                </c:pt>
                <c:pt idx="126">
                  <c:v>3</c:v>
                </c:pt>
                <c:pt idx="127">
                  <c:v>3</c:v>
                </c:pt>
                <c:pt idx="128">
                  <c:v>3</c:v>
                </c:pt>
                <c:pt idx="129">
                  <c:v>3</c:v>
                </c:pt>
                <c:pt idx="130">
                  <c:v>3</c:v>
                </c:pt>
                <c:pt idx="131">
                  <c:v>3</c:v>
                </c:pt>
                <c:pt idx="132">
                  <c:v>3</c:v>
                </c:pt>
                <c:pt idx="133">
                  <c:v>3</c:v>
                </c:pt>
                <c:pt idx="134">
                  <c:v>3</c:v>
                </c:pt>
                <c:pt idx="135">
                  <c:v>3</c:v>
                </c:pt>
                <c:pt idx="136">
                  <c:v>3</c:v>
                </c:pt>
                <c:pt idx="137">
                  <c:v>3</c:v>
                </c:pt>
                <c:pt idx="138">
                  <c:v>3</c:v>
                </c:pt>
                <c:pt idx="139">
                  <c:v>3</c:v>
                </c:pt>
                <c:pt idx="140">
                  <c:v>3</c:v>
                </c:pt>
                <c:pt idx="141">
                  <c:v>3</c:v>
                </c:pt>
                <c:pt idx="142">
                  <c:v>3</c:v>
                </c:pt>
                <c:pt idx="143">
                  <c:v>3</c:v>
                </c:pt>
                <c:pt idx="144">
                  <c:v>3</c:v>
                </c:pt>
                <c:pt idx="145">
                  <c:v>3</c:v>
                </c:pt>
                <c:pt idx="146">
                  <c:v>3</c:v>
                </c:pt>
                <c:pt idx="147">
                  <c:v>3</c:v>
                </c:pt>
                <c:pt idx="148">
                  <c:v>3</c:v>
                </c:pt>
                <c:pt idx="149">
                  <c:v>3</c:v>
                </c:pt>
                <c:pt idx="150">
                  <c:v>3</c:v>
                </c:pt>
                <c:pt idx="151">
                  <c:v>3</c:v>
                </c:pt>
                <c:pt idx="152">
                  <c:v>3</c:v>
                </c:pt>
                <c:pt idx="153">
                  <c:v>3</c:v>
                </c:pt>
                <c:pt idx="154">
                  <c:v>3</c:v>
                </c:pt>
                <c:pt idx="155">
                  <c:v>3</c:v>
                </c:pt>
                <c:pt idx="156">
                  <c:v>3</c:v>
                </c:pt>
                <c:pt idx="157">
                  <c:v>3</c:v>
                </c:pt>
                <c:pt idx="158">
                  <c:v>3</c:v>
                </c:pt>
                <c:pt idx="159">
                  <c:v>3</c:v>
                </c:pt>
                <c:pt idx="160">
                  <c:v>3</c:v>
                </c:pt>
                <c:pt idx="161">
                  <c:v>3</c:v>
                </c:pt>
                <c:pt idx="162">
                  <c:v>3</c:v>
                </c:pt>
                <c:pt idx="163">
                  <c:v>3</c:v>
                </c:pt>
                <c:pt idx="164">
                  <c:v>3</c:v>
                </c:pt>
                <c:pt idx="165">
                  <c:v>3</c:v>
                </c:pt>
                <c:pt idx="166">
                  <c:v>3</c:v>
                </c:pt>
                <c:pt idx="167">
                  <c:v>3</c:v>
                </c:pt>
                <c:pt idx="168">
                  <c:v>3</c:v>
                </c:pt>
                <c:pt idx="169">
                  <c:v>3</c:v>
                </c:pt>
                <c:pt idx="170">
                  <c:v>3</c:v>
                </c:pt>
                <c:pt idx="171">
                  <c:v>3</c:v>
                </c:pt>
                <c:pt idx="172">
                  <c:v>3</c:v>
                </c:pt>
                <c:pt idx="173">
                  <c:v>3</c:v>
                </c:pt>
                <c:pt idx="174">
                  <c:v>3</c:v>
                </c:pt>
                <c:pt idx="175">
                  <c:v>3</c:v>
                </c:pt>
                <c:pt idx="176">
                  <c:v>3</c:v>
                </c:pt>
                <c:pt idx="177">
                  <c:v>3</c:v>
                </c:pt>
                <c:pt idx="178">
                  <c:v>3</c:v>
                </c:pt>
                <c:pt idx="179">
                  <c:v>3</c:v>
                </c:pt>
                <c:pt idx="180">
                  <c:v>3</c:v>
                </c:pt>
                <c:pt idx="181">
                  <c:v>3</c:v>
                </c:pt>
                <c:pt idx="182">
                  <c:v>3</c:v>
                </c:pt>
                <c:pt idx="183">
                  <c:v>3</c:v>
                </c:pt>
                <c:pt idx="184">
                  <c:v>3</c:v>
                </c:pt>
                <c:pt idx="185">
                  <c:v>3</c:v>
                </c:pt>
                <c:pt idx="186">
                  <c:v>3</c:v>
                </c:pt>
                <c:pt idx="187">
                  <c:v>3</c:v>
                </c:pt>
                <c:pt idx="188">
                  <c:v>3</c:v>
                </c:pt>
                <c:pt idx="189">
                  <c:v>3</c:v>
                </c:pt>
                <c:pt idx="190">
                  <c:v>3</c:v>
                </c:pt>
                <c:pt idx="191">
                  <c:v>3</c:v>
                </c:pt>
                <c:pt idx="192">
                  <c:v>3</c:v>
                </c:pt>
                <c:pt idx="193">
                  <c:v>3</c:v>
                </c:pt>
                <c:pt idx="194">
                  <c:v>3</c:v>
                </c:pt>
                <c:pt idx="195">
                  <c:v>3</c:v>
                </c:pt>
                <c:pt idx="196">
                  <c:v>3</c:v>
                </c:pt>
                <c:pt idx="197">
                  <c:v>3</c:v>
                </c:pt>
                <c:pt idx="198">
                  <c:v>3</c:v>
                </c:pt>
                <c:pt idx="199">
                  <c:v>3</c:v>
                </c:pt>
                <c:pt idx="200">
                  <c:v>3</c:v>
                </c:pt>
                <c:pt idx="201">
                  <c:v>3</c:v>
                </c:pt>
                <c:pt idx="202">
                  <c:v>3</c:v>
                </c:pt>
                <c:pt idx="203">
                  <c:v>3</c:v>
                </c:pt>
                <c:pt idx="204">
                  <c:v>3</c:v>
                </c:pt>
                <c:pt idx="205">
                  <c:v>3</c:v>
                </c:pt>
                <c:pt idx="206">
                  <c:v>3</c:v>
                </c:pt>
                <c:pt idx="207">
                  <c:v>3</c:v>
                </c:pt>
                <c:pt idx="208">
                  <c:v>3</c:v>
                </c:pt>
                <c:pt idx="209">
                  <c:v>3</c:v>
                </c:pt>
                <c:pt idx="210">
                  <c:v>3</c:v>
                </c:pt>
                <c:pt idx="211">
                  <c:v>3</c:v>
                </c:pt>
                <c:pt idx="212">
                  <c:v>3</c:v>
                </c:pt>
                <c:pt idx="213">
                  <c:v>3</c:v>
                </c:pt>
                <c:pt idx="214">
                  <c:v>3</c:v>
                </c:pt>
                <c:pt idx="215">
                  <c:v>3</c:v>
                </c:pt>
                <c:pt idx="216">
                  <c:v>3</c:v>
                </c:pt>
                <c:pt idx="217">
                  <c:v>3</c:v>
                </c:pt>
                <c:pt idx="218">
                  <c:v>3</c:v>
                </c:pt>
                <c:pt idx="219">
                  <c:v>3</c:v>
                </c:pt>
                <c:pt idx="220">
                  <c:v>3</c:v>
                </c:pt>
                <c:pt idx="221">
                  <c:v>3</c:v>
                </c:pt>
                <c:pt idx="222">
                  <c:v>3</c:v>
                </c:pt>
                <c:pt idx="223">
                  <c:v>3</c:v>
                </c:pt>
                <c:pt idx="224">
                  <c:v>3</c:v>
                </c:pt>
                <c:pt idx="225">
                  <c:v>3</c:v>
                </c:pt>
                <c:pt idx="226">
                  <c:v>3</c:v>
                </c:pt>
                <c:pt idx="227">
                  <c:v>3</c:v>
                </c:pt>
                <c:pt idx="228">
                  <c:v>3</c:v>
                </c:pt>
                <c:pt idx="229">
                  <c:v>3</c:v>
                </c:pt>
                <c:pt idx="230">
                  <c:v>3</c:v>
                </c:pt>
                <c:pt idx="231">
                  <c:v>3</c:v>
                </c:pt>
                <c:pt idx="232">
                  <c:v>3</c:v>
                </c:pt>
                <c:pt idx="233">
                  <c:v>3</c:v>
                </c:pt>
                <c:pt idx="234">
                  <c:v>3</c:v>
                </c:pt>
                <c:pt idx="235">
                  <c:v>3</c:v>
                </c:pt>
                <c:pt idx="236">
                  <c:v>3</c:v>
                </c:pt>
                <c:pt idx="237">
                  <c:v>3</c:v>
                </c:pt>
                <c:pt idx="238">
                  <c:v>3</c:v>
                </c:pt>
                <c:pt idx="239">
                  <c:v>3</c:v>
                </c:pt>
                <c:pt idx="240">
                  <c:v>3</c:v>
                </c:pt>
                <c:pt idx="241">
                  <c:v>3</c:v>
                </c:pt>
                <c:pt idx="242">
                  <c:v>3</c:v>
                </c:pt>
                <c:pt idx="243">
                  <c:v>3</c:v>
                </c:pt>
                <c:pt idx="244">
                  <c:v>3</c:v>
                </c:pt>
                <c:pt idx="245">
                  <c:v>3</c:v>
                </c:pt>
                <c:pt idx="246">
                  <c:v>3</c:v>
                </c:pt>
                <c:pt idx="247">
                  <c:v>3</c:v>
                </c:pt>
                <c:pt idx="248">
                  <c:v>3</c:v>
                </c:pt>
                <c:pt idx="249">
                  <c:v>3</c:v>
                </c:pt>
                <c:pt idx="250">
                  <c:v>3</c:v>
                </c:pt>
                <c:pt idx="251">
                  <c:v>3</c:v>
                </c:pt>
                <c:pt idx="252">
                  <c:v>3</c:v>
                </c:pt>
                <c:pt idx="253">
                  <c:v>3</c:v>
                </c:pt>
                <c:pt idx="254">
                  <c:v>3</c:v>
                </c:pt>
                <c:pt idx="255">
                  <c:v>3</c:v>
                </c:pt>
                <c:pt idx="256">
                  <c:v>3</c:v>
                </c:pt>
                <c:pt idx="257">
                  <c:v>3</c:v>
                </c:pt>
                <c:pt idx="258">
                  <c:v>3</c:v>
                </c:pt>
                <c:pt idx="259">
                  <c:v>3</c:v>
                </c:pt>
                <c:pt idx="260">
                  <c:v>3</c:v>
                </c:pt>
                <c:pt idx="261">
                  <c:v>3</c:v>
                </c:pt>
                <c:pt idx="262">
                  <c:v>3</c:v>
                </c:pt>
                <c:pt idx="263">
                  <c:v>3</c:v>
                </c:pt>
                <c:pt idx="264">
                  <c:v>3</c:v>
                </c:pt>
                <c:pt idx="265">
                  <c:v>3</c:v>
                </c:pt>
                <c:pt idx="266">
                  <c:v>3</c:v>
                </c:pt>
                <c:pt idx="267">
                  <c:v>3</c:v>
                </c:pt>
                <c:pt idx="268">
                  <c:v>3</c:v>
                </c:pt>
                <c:pt idx="269">
                  <c:v>3</c:v>
                </c:pt>
                <c:pt idx="270">
                  <c:v>3</c:v>
                </c:pt>
                <c:pt idx="271">
                  <c:v>3</c:v>
                </c:pt>
                <c:pt idx="272">
                  <c:v>3</c:v>
                </c:pt>
                <c:pt idx="273">
                  <c:v>3</c:v>
                </c:pt>
                <c:pt idx="274">
                  <c:v>3</c:v>
                </c:pt>
                <c:pt idx="275">
                  <c:v>3</c:v>
                </c:pt>
                <c:pt idx="276">
                  <c:v>3</c:v>
                </c:pt>
                <c:pt idx="277">
                  <c:v>3</c:v>
                </c:pt>
                <c:pt idx="278">
                  <c:v>3</c:v>
                </c:pt>
                <c:pt idx="279">
                  <c:v>3</c:v>
                </c:pt>
                <c:pt idx="280">
                  <c:v>3</c:v>
                </c:pt>
                <c:pt idx="281">
                  <c:v>3</c:v>
                </c:pt>
                <c:pt idx="282">
                  <c:v>3</c:v>
                </c:pt>
                <c:pt idx="283">
                  <c:v>3</c:v>
                </c:pt>
                <c:pt idx="284">
                  <c:v>3</c:v>
                </c:pt>
                <c:pt idx="285">
                  <c:v>3</c:v>
                </c:pt>
                <c:pt idx="286">
                  <c:v>3</c:v>
                </c:pt>
                <c:pt idx="287">
                  <c:v>3</c:v>
                </c:pt>
                <c:pt idx="288">
                  <c:v>3</c:v>
                </c:pt>
                <c:pt idx="289">
                  <c:v>3</c:v>
                </c:pt>
                <c:pt idx="290">
                  <c:v>3</c:v>
                </c:pt>
                <c:pt idx="291">
                  <c:v>3</c:v>
                </c:pt>
                <c:pt idx="292">
                  <c:v>3</c:v>
                </c:pt>
                <c:pt idx="293">
                  <c:v>3</c:v>
                </c:pt>
                <c:pt idx="294">
                  <c:v>3</c:v>
                </c:pt>
                <c:pt idx="295">
                  <c:v>3</c:v>
                </c:pt>
                <c:pt idx="296">
                  <c:v>3</c:v>
                </c:pt>
                <c:pt idx="297">
                  <c:v>3</c:v>
                </c:pt>
                <c:pt idx="298">
                  <c:v>3</c:v>
                </c:pt>
                <c:pt idx="299">
                  <c:v>3</c:v>
                </c:pt>
                <c:pt idx="300">
                  <c:v>3</c:v>
                </c:pt>
                <c:pt idx="301">
                  <c:v>3</c:v>
                </c:pt>
                <c:pt idx="302">
                  <c:v>3</c:v>
                </c:pt>
                <c:pt idx="303">
                  <c:v>3</c:v>
                </c:pt>
                <c:pt idx="304">
                  <c:v>3</c:v>
                </c:pt>
                <c:pt idx="305">
                  <c:v>3</c:v>
                </c:pt>
                <c:pt idx="306">
                  <c:v>3</c:v>
                </c:pt>
                <c:pt idx="307">
                  <c:v>3</c:v>
                </c:pt>
                <c:pt idx="308">
                  <c:v>3</c:v>
                </c:pt>
                <c:pt idx="309">
                  <c:v>3</c:v>
                </c:pt>
                <c:pt idx="310">
                  <c:v>3</c:v>
                </c:pt>
                <c:pt idx="311">
                  <c:v>3</c:v>
                </c:pt>
                <c:pt idx="312">
                  <c:v>3</c:v>
                </c:pt>
                <c:pt idx="313">
                  <c:v>3</c:v>
                </c:pt>
                <c:pt idx="314">
                  <c:v>3</c:v>
                </c:pt>
                <c:pt idx="315">
                  <c:v>3</c:v>
                </c:pt>
                <c:pt idx="316">
                  <c:v>3</c:v>
                </c:pt>
                <c:pt idx="317">
                  <c:v>3</c:v>
                </c:pt>
                <c:pt idx="318">
                  <c:v>3</c:v>
                </c:pt>
                <c:pt idx="319">
                  <c:v>3</c:v>
                </c:pt>
                <c:pt idx="320">
                  <c:v>3</c:v>
                </c:pt>
                <c:pt idx="321">
                  <c:v>3</c:v>
                </c:pt>
                <c:pt idx="322">
                  <c:v>3</c:v>
                </c:pt>
                <c:pt idx="323">
                  <c:v>3</c:v>
                </c:pt>
                <c:pt idx="324">
                  <c:v>3</c:v>
                </c:pt>
                <c:pt idx="325">
                  <c:v>3</c:v>
                </c:pt>
                <c:pt idx="326">
                  <c:v>3</c:v>
                </c:pt>
                <c:pt idx="327">
                  <c:v>3</c:v>
                </c:pt>
                <c:pt idx="328">
                  <c:v>3</c:v>
                </c:pt>
                <c:pt idx="329">
                  <c:v>3</c:v>
                </c:pt>
                <c:pt idx="330">
                  <c:v>3</c:v>
                </c:pt>
                <c:pt idx="331">
                  <c:v>3</c:v>
                </c:pt>
                <c:pt idx="332">
                  <c:v>3</c:v>
                </c:pt>
                <c:pt idx="333">
                  <c:v>3</c:v>
                </c:pt>
                <c:pt idx="334">
                  <c:v>3</c:v>
                </c:pt>
                <c:pt idx="335">
                  <c:v>3</c:v>
                </c:pt>
                <c:pt idx="336">
                  <c:v>3</c:v>
                </c:pt>
                <c:pt idx="337">
                  <c:v>3</c:v>
                </c:pt>
                <c:pt idx="338">
                  <c:v>3</c:v>
                </c:pt>
                <c:pt idx="339">
                  <c:v>3</c:v>
                </c:pt>
                <c:pt idx="340">
                  <c:v>3</c:v>
                </c:pt>
                <c:pt idx="341">
                  <c:v>3</c:v>
                </c:pt>
                <c:pt idx="342">
                  <c:v>3</c:v>
                </c:pt>
                <c:pt idx="343">
                  <c:v>3</c:v>
                </c:pt>
                <c:pt idx="344">
                  <c:v>3</c:v>
                </c:pt>
                <c:pt idx="345">
                  <c:v>3</c:v>
                </c:pt>
                <c:pt idx="346">
                  <c:v>3</c:v>
                </c:pt>
                <c:pt idx="347">
                  <c:v>3</c:v>
                </c:pt>
                <c:pt idx="348">
                  <c:v>3</c:v>
                </c:pt>
                <c:pt idx="349">
                  <c:v>3</c:v>
                </c:pt>
                <c:pt idx="350">
                  <c:v>3</c:v>
                </c:pt>
                <c:pt idx="351">
                  <c:v>3</c:v>
                </c:pt>
                <c:pt idx="352">
                  <c:v>3</c:v>
                </c:pt>
                <c:pt idx="353">
                  <c:v>3</c:v>
                </c:pt>
                <c:pt idx="354">
                  <c:v>3</c:v>
                </c:pt>
                <c:pt idx="355">
                  <c:v>3</c:v>
                </c:pt>
                <c:pt idx="356">
                  <c:v>3</c:v>
                </c:pt>
                <c:pt idx="357">
                  <c:v>3</c:v>
                </c:pt>
                <c:pt idx="358">
                  <c:v>3</c:v>
                </c:pt>
                <c:pt idx="359">
                  <c:v>3</c:v>
                </c:pt>
                <c:pt idx="360">
                  <c:v>3</c:v>
                </c:pt>
                <c:pt idx="361">
                  <c:v>3</c:v>
                </c:pt>
                <c:pt idx="362">
                  <c:v>3</c:v>
                </c:pt>
                <c:pt idx="363">
                  <c:v>3</c:v>
                </c:pt>
                <c:pt idx="364">
                  <c:v>3</c:v>
                </c:pt>
                <c:pt idx="365">
                  <c:v>3</c:v>
                </c:pt>
                <c:pt idx="366">
                  <c:v>3</c:v>
                </c:pt>
                <c:pt idx="367">
                  <c:v>3</c:v>
                </c:pt>
                <c:pt idx="368">
                  <c:v>3</c:v>
                </c:pt>
                <c:pt idx="369">
                  <c:v>3</c:v>
                </c:pt>
                <c:pt idx="370">
                  <c:v>3</c:v>
                </c:pt>
                <c:pt idx="371">
                  <c:v>3</c:v>
                </c:pt>
                <c:pt idx="372">
                  <c:v>3</c:v>
                </c:pt>
                <c:pt idx="373">
                  <c:v>3</c:v>
                </c:pt>
                <c:pt idx="374">
                  <c:v>3</c:v>
                </c:pt>
                <c:pt idx="375">
                  <c:v>3</c:v>
                </c:pt>
                <c:pt idx="376">
                  <c:v>3</c:v>
                </c:pt>
                <c:pt idx="377">
                  <c:v>3</c:v>
                </c:pt>
                <c:pt idx="378">
                  <c:v>3</c:v>
                </c:pt>
                <c:pt idx="379">
                  <c:v>3</c:v>
                </c:pt>
                <c:pt idx="380">
                  <c:v>3</c:v>
                </c:pt>
                <c:pt idx="381">
                  <c:v>3</c:v>
                </c:pt>
                <c:pt idx="382">
                  <c:v>3</c:v>
                </c:pt>
                <c:pt idx="383">
                  <c:v>3</c:v>
                </c:pt>
                <c:pt idx="384">
                  <c:v>3</c:v>
                </c:pt>
                <c:pt idx="385">
                  <c:v>3</c:v>
                </c:pt>
                <c:pt idx="386">
                  <c:v>3</c:v>
                </c:pt>
                <c:pt idx="387">
                  <c:v>3</c:v>
                </c:pt>
                <c:pt idx="388">
                  <c:v>3</c:v>
                </c:pt>
                <c:pt idx="389">
                  <c:v>3</c:v>
                </c:pt>
                <c:pt idx="390">
                  <c:v>3</c:v>
                </c:pt>
                <c:pt idx="391">
                  <c:v>3</c:v>
                </c:pt>
                <c:pt idx="392">
                  <c:v>3</c:v>
                </c:pt>
                <c:pt idx="393">
                  <c:v>3</c:v>
                </c:pt>
                <c:pt idx="394">
                  <c:v>3</c:v>
                </c:pt>
                <c:pt idx="395">
                  <c:v>3</c:v>
                </c:pt>
                <c:pt idx="396">
                  <c:v>3</c:v>
                </c:pt>
                <c:pt idx="397">
                  <c:v>3</c:v>
                </c:pt>
                <c:pt idx="398">
                  <c:v>3</c:v>
                </c:pt>
                <c:pt idx="399">
                  <c:v>3</c:v>
                </c:pt>
                <c:pt idx="400">
                  <c:v>3</c:v>
                </c:pt>
                <c:pt idx="401">
                  <c:v>3</c:v>
                </c:pt>
                <c:pt idx="402">
                  <c:v>3</c:v>
                </c:pt>
                <c:pt idx="403">
                  <c:v>3</c:v>
                </c:pt>
                <c:pt idx="404">
                  <c:v>3</c:v>
                </c:pt>
                <c:pt idx="405">
                  <c:v>3</c:v>
                </c:pt>
                <c:pt idx="406">
                  <c:v>3</c:v>
                </c:pt>
                <c:pt idx="407">
                  <c:v>3</c:v>
                </c:pt>
                <c:pt idx="408">
                  <c:v>3</c:v>
                </c:pt>
                <c:pt idx="409">
                  <c:v>3</c:v>
                </c:pt>
                <c:pt idx="410">
                  <c:v>3</c:v>
                </c:pt>
                <c:pt idx="411">
                  <c:v>3</c:v>
                </c:pt>
                <c:pt idx="412">
                  <c:v>3</c:v>
                </c:pt>
                <c:pt idx="413">
                  <c:v>3</c:v>
                </c:pt>
                <c:pt idx="414">
                  <c:v>3</c:v>
                </c:pt>
                <c:pt idx="415">
                  <c:v>3</c:v>
                </c:pt>
                <c:pt idx="416">
                  <c:v>3</c:v>
                </c:pt>
                <c:pt idx="417">
                  <c:v>3</c:v>
                </c:pt>
                <c:pt idx="418">
                  <c:v>3</c:v>
                </c:pt>
                <c:pt idx="419">
                  <c:v>3</c:v>
                </c:pt>
                <c:pt idx="420">
                  <c:v>3</c:v>
                </c:pt>
                <c:pt idx="421">
                  <c:v>3</c:v>
                </c:pt>
                <c:pt idx="422">
                  <c:v>3</c:v>
                </c:pt>
                <c:pt idx="423">
                  <c:v>3</c:v>
                </c:pt>
                <c:pt idx="424">
                  <c:v>3</c:v>
                </c:pt>
                <c:pt idx="425">
                  <c:v>3</c:v>
                </c:pt>
                <c:pt idx="426">
                  <c:v>3</c:v>
                </c:pt>
                <c:pt idx="427">
                  <c:v>3</c:v>
                </c:pt>
                <c:pt idx="428">
                  <c:v>3</c:v>
                </c:pt>
                <c:pt idx="429">
                  <c:v>3</c:v>
                </c:pt>
                <c:pt idx="430">
                  <c:v>3</c:v>
                </c:pt>
                <c:pt idx="431">
                  <c:v>3</c:v>
                </c:pt>
                <c:pt idx="432">
                  <c:v>3</c:v>
                </c:pt>
                <c:pt idx="433">
                  <c:v>3</c:v>
                </c:pt>
                <c:pt idx="434">
                  <c:v>3</c:v>
                </c:pt>
                <c:pt idx="435">
                  <c:v>3</c:v>
                </c:pt>
                <c:pt idx="436">
                  <c:v>3</c:v>
                </c:pt>
                <c:pt idx="437">
                  <c:v>3</c:v>
                </c:pt>
                <c:pt idx="438">
                  <c:v>3</c:v>
                </c:pt>
                <c:pt idx="439">
                  <c:v>3</c:v>
                </c:pt>
                <c:pt idx="440">
                  <c:v>3</c:v>
                </c:pt>
                <c:pt idx="441">
                  <c:v>3</c:v>
                </c:pt>
                <c:pt idx="442">
                  <c:v>3</c:v>
                </c:pt>
                <c:pt idx="443">
                  <c:v>3</c:v>
                </c:pt>
                <c:pt idx="444">
                  <c:v>3</c:v>
                </c:pt>
                <c:pt idx="445">
                  <c:v>3</c:v>
                </c:pt>
                <c:pt idx="446">
                  <c:v>3</c:v>
                </c:pt>
                <c:pt idx="447">
                  <c:v>3</c:v>
                </c:pt>
                <c:pt idx="448">
                  <c:v>2.75</c:v>
                </c:pt>
                <c:pt idx="449">
                  <c:v>2.75</c:v>
                </c:pt>
                <c:pt idx="450">
                  <c:v>2.75</c:v>
                </c:pt>
                <c:pt idx="451">
                  <c:v>2.75</c:v>
                </c:pt>
                <c:pt idx="452">
                  <c:v>2.75</c:v>
                </c:pt>
                <c:pt idx="453">
                  <c:v>2.75</c:v>
                </c:pt>
                <c:pt idx="454">
                  <c:v>2.75</c:v>
                </c:pt>
                <c:pt idx="455">
                  <c:v>2.75</c:v>
                </c:pt>
                <c:pt idx="456">
                  <c:v>2.75</c:v>
                </c:pt>
                <c:pt idx="457">
                  <c:v>2.75</c:v>
                </c:pt>
                <c:pt idx="458">
                  <c:v>2.75</c:v>
                </c:pt>
                <c:pt idx="459">
                  <c:v>2.75</c:v>
                </c:pt>
                <c:pt idx="460">
                  <c:v>2.75</c:v>
                </c:pt>
                <c:pt idx="461">
                  <c:v>2.75</c:v>
                </c:pt>
                <c:pt idx="462">
                  <c:v>2.75</c:v>
                </c:pt>
                <c:pt idx="463">
                  <c:v>2.75</c:v>
                </c:pt>
                <c:pt idx="464">
                  <c:v>2.75</c:v>
                </c:pt>
                <c:pt idx="465">
                  <c:v>2.75</c:v>
                </c:pt>
                <c:pt idx="466">
                  <c:v>2.75</c:v>
                </c:pt>
                <c:pt idx="467">
                  <c:v>2.75</c:v>
                </c:pt>
                <c:pt idx="468">
                  <c:v>2.75</c:v>
                </c:pt>
                <c:pt idx="469">
                  <c:v>2.75</c:v>
                </c:pt>
                <c:pt idx="470">
                  <c:v>2.75</c:v>
                </c:pt>
                <c:pt idx="471">
                  <c:v>2.75</c:v>
                </c:pt>
                <c:pt idx="472">
                  <c:v>2.75</c:v>
                </c:pt>
                <c:pt idx="473">
                  <c:v>2.75</c:v>
                </c:pt>
                <c:pt idx="474">
                  <c:v>2.75</c:v>
                </c:pt>
                <c:pt idx="475">
                  <c:v>2.75</c:v>
                </c:pt>
                <c:pt idx="476">
                  <c:v>2.75</c:v>
                </c:pt>
                <c:pt idx="477">
                  <c:v>2.75</c:v>
                </c:pt>
                <c:pt idx="478">
                  <c:v>2.75</c:v>
                </c:pt>
                <c:pt idx="479">
                  <c:v>2.75</c:v>
                </c:pt>
                <c:pt idx="480">
                  <c:v>2.75</c:v>
                </c:pt>
                <c:pt idx="481">
                  <c:v>2.75</c:v>
                </c:pt>
                <c:pt idx="482">
                  <c:v>2.75</c:v>
                </c:pt>
                <c:pt idx="483">
                  <c:v>2.75</c:v>
                </c:pt>
                <c:pt idx="484">
                  <c:v>2.75</c:v>
                </c:pt>
                <c:pt idx="485">
                  <c:v>2.75</c:v>
                </c:pt>
                <c:pt idx="486">
                  <c:v>2.75</c:v>
                </c:pt>
                <c:pt idx="487">
                  <c:v>2.75</c:v>
                </c:pt>
                <c:pt idx="488">
                  <c:v>2.75</c:v>
                </c:pt>
                <c:pt idx="489">
                  <c:v>2.75</c:v>
                </c:pt>
                <c:pt idx="490">
                  <c:v>2.75</c:v>
                </c:pt>
                <c:pt idx="491">
                  <c:v>2.75</c:v>
                </c:pt>
                <c:pt idx="492">
                  <c:v>2.75</c:v>
                </c:pt>
                <c:pt idx="493">
                  <c:v>2.75</c:v>
                </c:pt>
                <c:pt idx="494">
                  <c:v>2.75</c:v>
                </c:pt>
                <c:pt idx="495">
                  <c:v>2.75</c:v>
                </c:pt>
                <c:pt idx="496">
                  <c:v>2.75</c:v>
                </c:pt>
                <c:pt idx="497">
                  <c:v>2.75</c:v>
                </c:pt>
                <c:pt idx="498">
                  <c:v>2.75</c:v>
                </c:pt>
                <c:pt idx="499">
                  <c:v>2.75</c:v>
                </c:pt>
                <c:pt idx="500">
                  <c:v>2.75</c:v>
                </c:pt>
                <c:pt idx="501">
                  <c:v>2.75</c:v>
                </c:pt>
                <c:pt idx="502">
                  <c:v>2.75</c:v>
                </c:pt>
                <c:pt idx="503">
                  <c:v>2.75</c:v>
                </c:pt>
                <c:pt idx="504">
                  <c:v>2.75</c:v>
                </c:pt>
                <c:pt idx="505">
                  <c:v>2.75</c:v>
                </c:pt>
                <c:pt idx="506">
                  <c:v>2.75</c:v>
                </c:pt>
                <c:pt idx="507">
                  <c:v>2.75</c:v>
                </c:pt>
                <c:pt idx="508">
                  <c:v>2.75</c:v>
                </c:pt>
                <c:pt idx="509">
                  <c:v>2.75</c:v>
                </c:pt>
                <c:pt idx="510">
                  <c:v>2.75</c:v>
                </c:pt>
                <c:pt idx="511">
                  <c:v>2.75</c:v>
                </c:pt>
                <c:pt idx="512">
                  <c:v>2.75</c:v>
                </c:pt>
                <c:pt idx="513">
                  <c:v>2.75</c:v>
                </c:pt>
                <c:pt idx="514">
                  <c:v>2.75</c:v>
                </c:pt>
                <c:pt idx="515">
                  <c:v>2.75</c:v>
                </c:pt>
                <c:pt idx="516">
                  <c:v>2.75</c:v>
                </c:pt>
                <c:pt idx="517">
                  <c:v>2.75</c:v>
                </c:pt>
                <c:pt idx="518">
                  <c:v>2.75</c:v>
                </c:pt>
                <c:pt idx="519">
                  <c:v>2.75</c:v>
                </c:pt>
                <c:pt idx="520">
                  <c:v>2.75</c:v>
                </c:pt>
                <c:pt idx="521">
                  <c:v>2.75</c:v>
                </c:pt>
                <c:pt idx="522">
                  <c:v>2.75</c:v>
                </c:pt>
                <c:pt idx="523">
                  <c:v>2.75</c:v>
                </c:pt>
                <c:pt idx="524">
                  <c:v>2.75</c:v>
                </c:pt>
                <c:pt idx="525">
                  <c:v>2.75</c:v>
                </c:pt>
                <c:pt idx="526">
                  <c:v>2.75</c:v>
                </c:pt>
                <c:pt idx="527">
                  <c:v>2.75</c:v>
                </c:pt>
                <c:pt idx="528">
                  <c:v>2.75</c:v>
                </c:pt>
                <c:pt idx="529">
                  <c:v>2.75</c:v>
                </c:pt>
                <c:pt idx="530">
                  <c:v>2.75</c:v>
                </c:pt>
                <c:pt idx="531">
                  <c:v>2.75</c:v>
                </c:pt>
                <c:pt idx="532">
                  <c:v>2.75</c:v>
                </c:pt>
                <c:pt idx="533">
                  <c:v>2.75</c:v>
                </c:pt>
                <c:pt idx="534">
                  <c:v>2.75</c:v>
                </c:pt>
                <c:pt idx="535">
                  <c:v>2.75</c:v>
                </c:pt>
                <c:pt idx="536">
                  <c:v>2.75</c:v>
                </c:pt>
                <c:pt idx="537">
                  <c:v>2.75</c:v>
                </c:pt>
                <c:pt idx="538">
                  <c:v>2.75</c:v>
                </c:pt>
                <c:pt idx="539">
                  <c:v>2.75</c:v>
                </c:pt>
                <c:pt idx="540">
                  <c:v>2.75</c:v>
                </c:pt>
                <c:pt idx="541">
                  <c:v>2.75</c:v>
                </c:pt>
                <c:pt idx="542">
                  <c:v>2.75</c:v>
                </c:pt>
                <c:pt idx="543">
                  <c:v>2.75</c:v>
                </c:pt>
                <c:pt idx="544">
                  <c:v>2.75</c:v>
                </c:pt>
                <c:pt idx="545">
                  <c:v>2.75</c:v>
                </c:pt>
                <c:pt idx="546">
                  <c:v>2.75</c:v>
                </c:pt>
                <c:pt idx="547">
                  <c:v>2.5</c:v>
                </c:pt>
                <c:pt idx="548">
                  <c:v>2.5</c:v>
                </c:pt>
                <c:pt idx="549">
                  <c:v>2.5</c:v>
                </c:pt>
                <c:pt idx="550">
                  <c:v>2.5</c:v>
                </c:pt>
                <c:pt idx="551">
                  <c:v>2.5</c:v>
                </c:pt>
                <c:pt idx="552">
                  <c:v>2.5</c:v>
                </c:pt>
                <c:pt idx="553">
                  <c:v>2.5</c:v>
                </c:pt>
                <c:pt idx="554">
                  <c:v>2.5</c:v>
                </c:pt>
                <c:pt idx="555">
                  <c:v>2.5</c:v>
                </c:pt>
                <c:pt idx="556">
                  <c:v>2.5</c:v>
                </c:pt>
                <c:pt idx="557">
                  <c:v>2.5</c:v>
                </c:pt>
                <c:pt idx="558">
                  <c:v>2.5</c:v>
                </c:pt>
                <c:pt idx="559">
                  <c:v>2.5</c:v>
                </c:pt>
                <c:pt idx="560">
                  <c:v>2.5</c:v>
                </c:pt>
                <c:pt idx="561">
                  <c:v>2.5</c:v>
                </c:pt>
                <c:pt idx="562">
                  <c:v>2.5</c:v>
                </c:pt>
                <c:pt idx="563">
                  <c:v>2.5</c:v>
                </c:pt>
                <c:pt idx="564">
                  <c:v>2.5</c:v>
                </c:pt>
                <c:pt idx="565">
                  <c:v>2.5</c:v>
                </c:pt>
                <c:pt idx="566">
                  <c:v>2.5</c:v>
                </c:pt>
                <c:pt idx="567">
                  <c:v>2.5</c:v>
                </c:pt>
                <c:pt idx="568">
                  <c:v>2.5</c:v>
                </c:pt>
                <c:pt idx="569">
                  <c:v>2.5</c:v>
                </c:pt>
                <c:pt idx="570">
                  <c:v>2.5</c:v>
                </c:pt>
                <c:pt idx="571">
                  <c:v>2.5</c:v>
                </c:pt>
                <c:pt idx="572">
                  <c:v>2.5</c:v>
                </c:pt>
                <c:pt idx="573">
                  <c:v>2.5</c:v>
                </c:pt>
                <c:pt idx="574">
                  <c:v>2.5</c:v>
                </c:pt>
                <c:pt idx="575">
                  <c:v>2.5</c:v>
                </c:pt>
                <c:pt idx="576">
                  <c:v>2.5</c:v>
                </c:pt>
                <c:pt idx="577">
                  <c:v>2.5</c:v>
                </c:pt>
                <c:pt idx="578">
                  <c:v>2.5</c:v>
                </c:pt>
                <c:pt idx="579">
                  <c:v>2.5</c:v>
                </c:pt>
                <c:pt idx="580">
                  <c:v>2.5</c:v>
                </c:pt>
                <c:pt idx="581">
                  <c:v>2.5</c:v>
                </c:pt>
                <c:pt idx="582">
                  <c:v>2.5</c:v>
                </c:pt>
                <c:pt idx="583">
                  <c:v>2.5</c:v>
                </c:pt>
                <c:pt idx="584">
                  <c:v>2.5</c:v>
                </c:pt>
                <c:pt idx="585">
                  <c:v>2.5</c:v>
                </c:pt>
                <c:pt idx="586">
                  <c:v>2.5</c:v>
                </c:pt>
                <c:pt idx="587">
                  <c:v>2.5</c:v>
                </c:pt>
                <c:pt idx="588">
                  <c:v>2.5</c:v>
                </c:pt>
                <c:pt idx="589">
                  <c:v>2.5</c:v>
                </c:pt>
                <c:pt idx="590">
                  <c:v>2.5</c:v>
                </c:pt>
                <c:pt idx="591">
                  <c:v>2.5</c:v>
                </c:pt>
                <c:pt idx="592">
                  <c:v>2.5</c:v>
                </c:pt>
                <c:pt idx="593">
                  <c:v>2.5</c:v>
                </c:pt>
                <c:pt idx="594">
                  <c:v>2.5</c:v>
                </c:pt>
                <c:pt idx="595">
                  <c:v>2.5</c:v>
                </c:pt>
                <c:pt idx="596">
                  <c:v>2.5</c:v>
                </c:pt>
                <c:pt idx="597">
                  <c:v>2.25</c:v>
                </c:pt>
                <c:pt idx="598">
                  <c:v>2.25</c:v>
                </c:pt>
                <c:pt idx="599">
                  <c:v>2.25</c:v>
                </c:pt>
                <c:pt idx="600">
                  <c:v>2.25</c:v>
                </c:pt>
                <c:pt idx="601">
                  <c:v>2.25</c:v>
                </c:pt>
                <c:pt idx="602">
                  <c:v>2.25</c:v>
                </c:pt>
                <c:pt idx="603">
                  <c:v>2.25</c:v>
                </c:pt>
                <c:pt idx="604">
                  <c:v>2.25</c:v>
                </c:pt>
                <c:pt idx="605">
                  <c:v>2.25</c:v>
                </c:pt>
                <c:pt idx="606">
                  <c:v>2.25</c:v>
                </c:pt>
                <c:pt idx="607">
                  <c:v>2.25</c:v>
                </c:pt>
                <c:pt idx="608">
                  <c:v>2.25</c:v>
                </c:pt>
                <c:pt idx="609">
                  <c:v>2.25</c:v>
                </c:pt>
                <c:pt idx="610">
                  <c:v>2.25</c:v>
                </c:pt>
                <c:pt idx="611">
                  <c:v>2.25</c:v>
                </c:pt>
                <c:pt idx="612">
                  <c:v>2.25</c:v>
                </c:pt>
                <c:pt idx="613">
                  <c:v>2.25</c:v>
                </c:pt>
                <c:pt idx="614">
                  <c:v>2.25</c:v>
                </c:pt>
                <c:pt idx="615">
                  <c:v>2.25</c:v>
                </c:pt>
                <c:pt idx="616">
                  <c:v>2.25</c:v>
                </c:pt>
                <c:pt idx="617">
                  <c:v>2.25</c:v>
                </c:pt>
                <c:pt idx="618">
                  <c:v>2.25</c:v>
                </c:pt>
                <c:pt idx="619">
                  <c:v>2.25</c:v>
                </c:pt>
                <c:pt idx="620">
                  <c:v>2.25</c:v>
                </c:pt>
                <c:pt idx="621">
                  <c:v>2.25</c:v>
                </c:pt>
                <c:pt idx="622">
                  <c:v>2</c:v>
                </c:pt>
                <c:pt idx="623">
                  <c:v>2</c:v>
                </c:pt>
                <c:pt idx="624">
                  <c:v>2</c:v>
                </c:pt>
                <c:pt idx="625">
                  <c:v>2</c:v>
                </c:pt>
                <c:pt idx="626">
                  <c:v>2</c:v>
                </c:pt>
                <c:pt idx="627">
                  <c:v>2</c:v>
                </c:pt>
                <c:pt idx="628">
                  <c:v>2</c:v>
                </c:pt>
                <c:pt idx="629">
                  <c:v>2</c:v>
                </c:pt>
                <c:pt idx="630">
                  <c:v>2</c:v>
                </c:pt>
                <c:pt idx="631">
                  <c:v>2</c:v>
                </c:pt>
                <c:pt idx="632">
                  <c:v>2</c:v>
                </c:pt>
                <c:pt idx="633">
                  <c:v>2</c:v>
                </c:pt>
                <c:pt idx="634">
                  <c:v>2</c:v>
                </c:pt>
                <c:pt idx="635">
                  <c:v>2</c:v>
                </c:pt>
                <c:pt idx="636">
                  <c:v>2</c:v>
                </c:pt>
                <c:pt idx="637">
                  <c:v>2</c:v>
                </c:pt>
                <c:pt idx="638">
                  <c:v>2</c:v>
                </c:pt>
                <c:pt idx="639">
                  <c:v>2</c:v>
                </c:pt>
                <c:pt idx="640">
                  <c:v>2</c:v>
                </c:pt>
                <c:pt idx="641">
                  <c:v>2</c:v>
                </c:pt>
                <c:pt idx="642">
                  <c:v>2</c:v>
                </c:pt>
                <c:pt idx="643">
                  <c:v>2</c:v>
                </c:pt>
                <c:pt idx="644">
                  <c:v>2</c:v>
                </c:pt>
                <c:pt idx="645">
                  <c:v>2</c:v>
                </c:pt>
                <c:pt idx="646">
                  <c:v>2</c:v>
                </c:pt>
                <c:pt idx="647">
                  <c:v>2</c:v>
                </c:pt>
                <c:pt idx="648">
                  <c:v>2</c:v>
                </c:pt>
                <c:pt idx="649">
                  <c:v>2</c:v>
                </c:pt>
                <c:pt idx="650">
                  <c:v>2</c:v>
                </c:pt>
                <c:pt idx="651">
                  <c:v>2</c:v>
                </c:pt>
                <c:pt idx="652">
                  <c:v>2</c:v>
                </c:pt>
                <c:pt idx="653">
                  <c:v>2</c:v>
                </c:pt>
                <c:pt idx="654">
                  <c:v>2</c:v>
                </c:pt>
                <c:pt idx="655">
                  <c:v>2</c:v>
                </c:pt>
                <c:pt idx="656">
                  <c:v>2</c:v>
                </c:pt>
                <c:pt idx="657">
                  <c:v>2</c:v>
                </c:pt>
                <c:pt idx="658">
                  <c:v>2</c:v>
                </c:pt>
                <c:pt idx="659">
                  <c:v>2</c:v>
                </c:pt>
                <c:pt idx="660">
                  <c:v>2</c:v>
                </c:pt>
                <c:pt idx="661">
                  <c:v>2</c:v>
                </c:pt>
                <c:pt idx="662">
                  <c:v>2</c:v>
                </c:pt>
                <c:pt idx="663">
                  <c:v>2</c:v>
                </c:pt>
                <c:pt idx="664">
                  <c:v>2</c:v>
                </c:pt>
                <c:pt idx="665">
                  <c:v>2</c:v>
                </c:pt>
                <c:pt idx="666">
                  <c:v>2</c:v>
                </c:pt>
                <c:pt idx="667">
                  <c:v>2</c:v>
                </c:pt>
                <c:pt idx="668">
                  <c:v>2</c:v>
                </c:pt>
                <c:pt idx="669">
                  <c:v>2</c:v>
                </c:pt>
                <c:pt idx="670">
                  <c:v>2</c:v>
                </c:pt>
                <c:pt idx="671">
                  <c:v>2</c:v>
                </c:pt>
                <c:pt idx="672">
                  <c:v>2</c:v>
                </c:pt>
                <c:pt idx="673">
                  <c:v>2</c:v>
                </c:pt>
                <c:pt idx="674">
                  <c:v>2</c:v>
                </c:pt>
                <c:pt idx="675">
                  <c:v>1.75</c:v>
                </c:pt>
                <c:pt idx="676">
                  <c:v>1.75</c:v>
                </c:pt>
                <c:pt idx="677">
                  <c:v>1.75</c:v>
                </c:pt>
                <c:pt idx="678">
                  <c:v>1.75</c:v>
                </c:pt>
                <c:pt idx="679">
                  <c:v>1.75</c:v>
                </c:pt>
                <c:pt idx="680">
                  <c:v>1.75</c:v>
                </c:pt>
                <c:pt idx="681">
                  <c:v>1.75</c:v>
                </c:pt>
                <c:pt idx="682">
                  <c:v>1.75</c:v>
                </c:pt>
                <c:pt idx="683">
                  <c:v>1.75</c:v>
                </c:pt>
                <c:pt idx="684">
                  <c:v>1.75</c:v>
                </c:pt>
                <c:pt idx="685">
                  <c:v>1.75</c:v>
                </c:pt>
                <c:pt idx="686">
                  <c:v>1.75</c:v>
                </c:pt>
                <c:pt idx="687">
                  <c:v>1.75</c:v>
                </c:pt>
                <c:pt idx="688">
                  <c:v>1.75</c:v>
                </c:pt>
                <c:pt idx="689">
                  <c:v>1.75</c:v>
                </c:pt>
                <c:pt idx="690">
                  <c:v>1.75</c:v>
                </c:pt>
                <c:pt idx="691">
                  <c:v>1.75</c:v>
                </c:pt>
                <c:pt idx="692">
                  <c:v>1.75</c:v>
                </c:pt>
                <c:pt idx="693">
                  <c:v>1.75</c:v>
                </c:pt>
                <c:pt idx="694">
                  <c:v>1.75</c:v>
                </c:pt>
                <c:pt idx="695">
                  <c:v>1.75</c:v>
                </c:pt>
                <c:pt idx="696">
                  <c:v>1.75</c:v>
                </c:pt>
                <c:pt idx="697">
                  <c:v>1.75</c:v>
                </c:pt>
                <c:pt idx="698">
                  <c:v>1.75</c:v>
                </c:pt>
                <c:pt idx="699">
                  <c:v>1.75</c:v>
                </c:pt>
                <c:pt idx="700">
                  <c:v>1.75</c:v>
                </c:pt>
                <c:pt idx="701">
                  <c:v>1.75</c:v>
                </c:pt>
                <c:pt idx="702">
                  <c:v>1.75</c:v>
                </c:pt>
                <c:pt idx="703">
                  <c:v>1.75</c:v>
                </c:pt>
                <c:pt idx="704">
                  <c:v>1.75</c:v>
                </c:pt>
                <c:pt idx="705">
                  <c:v>1.75</c:v>
                </c:pt>
                <c:pt idx="706">
                  <c:v>1.75</c:v>
                </c:pt>
                <c:pt idx="707">
                  <c:v>1.75</c:v>
                </c:pt>
                <c:pt idx="708">
                  <c:v>1.75</c:v>
                </c:pt>
                <c:pt idx="709">
                  <c:v>1.75</c:v>
                </c:pt>
                <c:pt idx="710">
                  <c:v>1.75</c:v>
                </c:pt>
                <c:pt idx="711">
                  <c:v>1.75</c:v>
                </c:pt>
                <c:pt idx="712">
                  <c:v>1.75</c:v>
                </c:pt>
                <c:pt idx="713">
                  <c:v>1.75</c:v>
                </c:pt>
                <c:pt idx="714">
                  <c:v>1.75</c:v>
                </c:pt>
                <c:pt idx="715">
                  <c:v>1.75</c:v>
                </c:pt>
                <c:pt idx="716">
                  <c:v>1.75</c:v>
                </c:pt>
                <c:pt idx="717">
                  <c:v>1.75</c:v>
                </c:pt>
                <c:pt idx="718">
                  <c:v>1.75</c:v>
                </c:pt>
                <c:pt idx="719">
                  <c:v>1.75</c:v>
                </c:pt>
                <c:pt idx="720">
                  <c:v>1.75</c:v>
                </c:pt>
                <c:pt idx="721">
                  <c:v>1.75</c:v>
                </c:pt>
                <c:pt idx="722">
                  <c:v>1.5</c:v>
                </c:pt>
                <c:pt idx="723">
                  <c:v>1.5</c:v>
                </c:pt>
                <c:pt idx="724">
                  <c:v>1.5</c:v>
                </c:pt>
                <c:pt idx="725">
                  <c:v>1.5</c:v>
                </c:pt>
                <c:pt idx="726">
                  <c:v>1.5</c:v>
                </c:pt>
                <c:pt idx="727">
                  <c:v>1.5</c:v>
                </c:pt>
                <c:pt idx="728">
                  <c:v>1.5</c:v>
                </c:pt>
                <c:pt idx="729">
                  <c:v>1.5</c:v>
                </c:pt>
                <c:pt idx="730">
                  <c:v>1.5</c:v>
                </c:pt>
                <c:pt idx="731">
                  <c:v>1.5</c:v>
                </c:pt>
                <c:pt idx="732">
                  <c:v>1.5</c:v>
                </c:pt>
                <c:pt idx="733">
                  <c:v>1.5</c:v>
                </c:pt>
                <c:pt idx="734">
                  <c:v>1.5</c:v>
                </c:pt>
                <c:pt idx="735">
                  <c:v>1.5</c:v>
                </c:pt>
                <c:pt idx="736">
                  <c:v>1.5</c:v>
                </c:pt>
                <c:pt idx="737">
                  <c:v>1.5</c:v>
                </c:pt>
                <c:pt idx="738">
                  <c:v>1.5</c:v>
                </c:pt>
                <c:pt idx="739">
                  <c:v>1.5</c:v>
                </c:pt>
                <c:pt idx="740">
                  <c:v>1.5</c:v>
                </c:pt>
                <c:pt idx="741">
                  <c:v>1.5</c:v>
                </c:pt>
                <c:pt idx="742">
                  <c:v>1.5</c:v>
                </c:pt>
                <c:pt idx="743">
                  <c:v>1.5</c:v>
                </c:pt>
                <c:pt idx="744">
                  <c:v>1.5</c:v>
                </c:pt>
                <c:pt idx="745">
                  <c:v>1.5</c:v>
                </c:pt>
                <c:pt idx="746">
                  <c:v>1.5</c:v>
                </c:pt>
                <c:pt idx="747">
                  <c:v>1.5</c:v>
                </c:pt>
                <c:pt idx="748">
                  <c:v>1.5</c:v>
                </c:pt>
                <c:pt idx="749">
                  <c:v>1.5</c:v>
                </c:pt>
                <c:pt idx="750">
                  <c:v>1.5</c:v>
                </c:pt>
                <c:pt idx="751">
                  <c:v>1.5</c:v>
                </c:pt>
                <c:pt idx="752">
                  <c:v>1.5</c:v>
                </c:pt>
                <c:pt idx="753">
                  <c:v>1.5</c:v>
                </c:pt>
                <c:pt idx="754">
                  <c:v>1.5</c:v>
                </c:pt>
                <c:pt idx="755">
                  <c:v>1.5</c:v>
                </c:pt>
                <c:pt idx="756">
                  <c:v>1.5</c:v>
                </c:pt>
                <c:pt idx="757">
                  <c:v>1.5</c:v>
                </c:pt>
                <c:pt idx="758">
                  <c:v>1.5</c:v>
                </c:pt>
                <c:pt idx="759">
                  <c:v>1.5</c:v>
                </c:pt>
                <c:pt idx="760">
                  <c:v>1.5</c:v>
                </c:pt>
                <c:pt idx="761">
                  <c:v>1.5</c:v>
                </c:pt>
                <c:pt idx="762">
                  <c:v>1.5</c:v>
                </c:pt>
                <c:pt idx="763">
                  <c:v>1.5</c:v>
                </c:pt>
                <c:pt idx="764">
                  <c:v>1.5</c:v>
                </c:pt>
                <c:pt idx="765">
                  <c:v>1.5</c:v>
                </c:pt>
                <c:pt idx="766">
                  <c:v>1.5</c:v>
                </c:pt>
                <c:pt idx="767">
                  <c:v>1.5</c:v>
                </c:pt>
                <c:pt idx="768">
                  <c:v>1.5</c:v>
                </c:pt>
                <c:pt idx="769">
                  <c:v>1.5</c:v>
                </c:pt>
                <c:pt idx="770">
                  <c:v>1.5</c:v>
                </c:pt>
                <c:pt idx="771">
                  <c:v>1.5</c:v>
                </c:pt>
                <c:pt idx="772">
                  <c:v>1.5</c:v>
                </c:pt>
                <c:pt idx="773">
                  <c:v>1.5</c:v>
                </c:pt>
                <c:pt idx="774">
                  <c:v>1.5</c:v>
                </c:pt>
                <c:pt idx="775">
                  <c:v>1.5</c:v>
                </c:pt>
              </c:numCache>
            </c:numRef>
          </c:val>
          <c:smooth val="0"/>
          <c:extLst>
            <c:ext xmlns:c16="http://schemas.microsoft.com/office/drawing/2014/chart" uri="{C3380CC4-5D6E-409C-BE32-E72D297353CC}">
              <c16:uniqueId val="{00000000-8A09-4D27-9626-9A16A7E12A2C}"/>
            </c:ext>
          </c:extLst>
        </c:ser>
        <c:ser>
          <c:idx val="1"/>
          <c:order val="1"/>
          <c:tx>
            <c:strRef>
              <c:f>Sheet2!$C$1</c:f>
              <c:strCache>
                <c:ptCount val="1"/>
                <c:pt idx="0">
                  <c:v>Yu'Ebao</c:v>
                </c:pt>
              </c:strCache>
            </c:strRef>
          </c:tx>
          <c:spPr>
            <a:ln w="28575" cap="rnd">
              <a:solidFill>
                <a:schemeClr val="bg1">
                  <a:lumMod val="50000"/>
                </a:schemeClr>
              </a:solidFill>
              <a:round/>
            </a:ln>
            <a:effectLst/>
          </c:spPr>
          <c:marker>
            <c:symbol val="none"/>
          </c:marker>
          <c:cat>
            <c:numRef>
              <c:f>Sheet2!$A$2:$A$777</c:f>
              <c:numCache>
                <c:formatCode>yyyy\-mm\-dd;@</c:formatCode>
                <c:ptCount val="776"/>
                <c:pt idx="0">
                  <c:v>41427</c:v>
                </c:pt>
                <c:pt idx="1">
                  <c:v>41428</c:v>
                </c:pt>
                <c:pt idx="2">
                  <c:v>41429</c:v>
                </c:pt>
                <c:pt idx="3">
                  <c:v>41430</c:v>
                </c:pt>
                <c:pt idx="4">
                  <c:v>41431</c:v>
                </c:pt>
                <c:pt idx="5">
                  <c:v>41432</c:v>
                </c:pt>
                <c:pt idx="6">
                  <c:v>41437</c:v>
                </c:pt>
                <c:pt idx="7">
                  <c:v>41438</c:v>
                </c:pt>
                <c:pt idx="8">
                  <c:v>41439</c:v>
                </c:pt>
                <c:pt idx="9">
                  <c:v>41441</c:v>
                </c:pt>
                <c:pt idx="10">
                  <c:v>41442</c:v>
                </c:pt>
                <c:pt idx="11">
                  <c:v>41443</c:v>
                </c:pt>
                <c:pt idx="12">
                  <c:v>41444</c:v>
                </c:pt>
                <c:pt idx="13">
                  <c:v>41445</c:v>
                </c:pt>
                <c:pt idx="14">
                  <c:v>41446</c:v>
                </c:pt>
                <c:pt idx="15">
                  <c:v>41448</c:v>
                </c:pt>
                <c:pt idx="16">
                  <c:v>41449</c:v>
                </c:pt>
                <c:pt idx="17">
                  <c:v>41450</c:v>
                </c:pt>
                <c:pt idx="18">
                  <c:v>41451</c:v>
                </c:pt>
                <c:pt idx="19">
                  <c:v>41452</c:v>
                </c:pt>
                <c:pt idx="20">
                  <c:v>41453</c:v>
                </c:pt>
                <c:pt idx="21">
                  <c:v>41455</c:v>
                </c:pt>
                <c:pt idx="22">
                  <c:v>41456</c:v>
                </c:pt>
                <c:pt idx="23">
                  <c:v>41457</c:v>
                </c:pt>
                <c:pt idx="24">
                  <c:v>41458</c:v>
                </c:pt>
                <c:pt idx="25">
                  <c:v>41459</c:v>
                </c:pt>
                <c:pt idx="26">
                  <c:v>41460</c:v>
                </c:pt>
                <c:pt idx="27">
                  <c:v>41462</c:v>
                </c:pt>
                <c:pt idx="28">
                  <c:v>41463</c:v>
                </c:pt>
                <c:pt idx="29">
                  <c:v>41464</c:v>
                </c:pt>
                <c:pt idx="30">
                  <c:v>41465</c:v>
                </c:pt>
                <c:pt idx="31">
                  <c:v>41466</c:v>
                </c:pt>
                <c:pt idx="32">
                  <c:v>41467</c:v>
                </c:pt>
                <c:pt idx="33">
                  <c:v>41469</c:v>
                </c:pt>
                <c:pt idx="34">
                  <c:v>41470</c:v>
                </c:pt>
                <c:pt idx="35">
                  <c:v>41471</c:v>
                </c:pt>
                <c:pt idx="36">
                  <c:v>41472</c:v>
                </c:pt>
                <c:pt idx="37">
                  <c:v>41473</c:v>
                </c:pt>
                <c:pt idx="38">
                  <c:v>41474</c:v>
                </c:pt>
                <c:pt idx="39">
                  <c:v>41476</c:v>
                </c:pt>
                <c:pt idx="40">
                  <c:v>41477</c:v>
                </c:pt>
                <c:pt idx="41">
                  <c:v>41478</c:v>
                </c:pt>
                <c:pt idx="42">
                  <c:v>41479</c:v>
                </c:pt>
                <c:pt idx="43">
                  <c:v>41480</c:v>
                </c:pt>
                <c:pt idx="44">
                  <c:v>41481</c:v>
                </c:pt>
                <c:pt idx="45">
                  <c:v>41483</c:v>
                </c:pt>
                <c:pt idx="46">
                  <c:v>41484</c:v>
                </c:pt>
                <c:pt idx="47">
                  <c:v>41485</c:v>
                </c:pt>
                <c:pt idx="48">
                  <c:v>41486</c:v>
                </c:pt>
                <c:pt idx="49">
                  <c:v>41487</c:v>
                </c:pt>
                <c:pt idx="50">
                  <c:v>41488</c:v>
                </c:pt>
                <c:pt idx="51">
                  <c:v>41490</c:v>
                </c:pt>
                <c:pt idx="52">
                  <c:v>41491</c:v>
                </c:pt>
                <c:pt idx="53">
                  <c:v>41492</c:v>
                </c:pt>
                <c:pt idx="54">
                  <c:v>41493</c:v>
                </c:pt>
                <c:pt idx="55">
                  <c:v>41494</c:v>
                </c:pt>
                <c:pt idx="56">
                  <c:v>41495</c:v>
                </c:pt>
                <c:pt idx="57">
                  <c:v>41497</c:v>
                </c:pt>
                <c:pt idx="58">
                  <c:v>41498</c:v>
                </c:pt>
                <c:pt idx="59">
                  <c:v>41499</c:v>
                </c:pt>
                <c:pt idx="60">
                  <c:v>41500</c:v>
                </c:pt>
                <c:pt idx="61">
                  <c:v>41501</c:v>
                </c:pt>
                <c:pt idx="62">
                  <c:v>41502</c:v>
                </c:pt>
                <c:pt idx="63">
                  <c:v>41504</c:v>
                </c:pt>
                <c:pt idx="64">
                  <c:v>41505</c:v>
                </c:pt>
                <c:pt idx="65">
                  <c:v>41506</c:v>
                </c:pt>
                <c:pt idx="66">
                  <c:v>41507</c:v>
                </c:pt>
                <c:pt idx="67">
                  <c:v>41508</c:v>
                </c:pt>
                <c:pt idx="68">
                  <c:v>41509</c:v>
                </c:pt>
                <c:pt idx="69">
                  <c:v>41511</c:v>
                </c:pt>
                <c:pt idx="70">
                  <c:v>41512</c:v>
                </c:pt>
                <c:pt idx="71">
                  <c:v>41513</c:v>
                </c:pt>
                <c:pt idx="72">
                  <c:v>41514</c:v>
                </c:pt>
                <c:pt idx="73">
                  <c:v>41515</c:v>
                </c:pt>
                <c:pt idx="74">
                  <c:v>41516</c:v>
                </c:pt>
                <c:pt idx="75">
                  <c:v>41517</c:v>
                </c:pt>
                <c:pt idx="76">
                  <c:v>41518</c:v>
                </c:pt>
                <c:pt idx="77">
                  <c:v>41519</c:v>
                </c:pt>
                <c:pt idx="78">
                  <c:v>41520</c:v>
                </c:pt>
                <c:pt idx="79">
                  <c:v>41521</c:v>
                </c:pt>
                <c:pt idx="80">
                  <c:v>41522</c:v>
                </c:pt>
                <c:pt idx="81">
                  <c:v>41523</c:v>
                </c:pt>
                <c:pt idx="82">
                  <c:v>41525</c:v>
                </c:pt>
                <c:pt idx="83">
                  <c:v>41526</c:v>
                </c:pt>
                <c:pt idx="84">
                  <c:v>41527</c:v>
                </c:pt>
                <c:pt idx="85">
                  <c:v>41528</c:v>
                </c:pt>
                <c:pt idx="86">
                  <c:v>41529</c:v>
                </c:pt>
                <c:pt idx="87">
                  <c:v>41530</c:v>
                </c:pt>
                <c:pt idx="88">
                  <c:v>41532</c:v>
                </c:pt>
                <c:pt idx="89">
                  <c:v>41533</c:v>
                </c:pt>
                <c:pt idx="90">
                  <c:v>41534</c:v>
                </c:pt>
                <c:pt idx="91">
                  <c:v>41535</c:v>
                </c:pt>
                <c:pt idx="92">
                  <c:v>41539</c:v>
                </c:pt>
                <c:pt idx="93">
                  <c:v>41540</c:v>
                </c:pt>
                <c:pt idx="94">
                  <c:v>41541</c:v>
                </c:pt>
                <c:pt idx="95">
                  <c:v>41542</c:v>
                </c:pt>
                <c:pt idx="96">
                  <c:v>41543</c:v>
                </c:pt>
                <c:pt idx="97">
                  <c:v>41544</c:v>
                </c:pt>
                <c:pt idx="98">
                  <c:v>41546</c:v>
                </c:pt>
                <c:pt idx="99">
                  <c:v>41547</c:v>
                </c:pt>
                <c:pt idx="100">
                  <c:v>41554</c:v>
                </c:pt>
                <c:pt idx="101">
                  <c:v>41555</c:v>
                </c:pt>
                <c:pt idx="102">
                  <c:v>41556</c:v>
                </c:pt>
                <c:pt idx="103">
                  <c:v>41557</c:v>
                </c:pt>
                <c:pt idx="104">
                  <c:v>41558</c:v>
                </c:pt>
                <c:pt idx="105">
                  <c:v>41560</c:v>
                </c:pt>
                <c:pt idx="106">
                  <c:v>41561</c:v>
                </c:pt>
                <c:pt idx="107">
                  <c:v>41562</c:v>
                </c:pt>
                <c:pt idx="108">
                  <c:v>41563</c:v>
                </c:pt>
                <c:pt idx="109">
                  <c:v>41564</c:v>
                </c:pt>
                <c:pt idx="110">
                  <c:v>41565</c:v>
                </c:pt>
                <c:pt idx="111">
                  <c:v>41567</c:v>
                </c:pt>
                <c:pt idx="112">
                  <c:v>41568</c:v>
                </c:pt>
                <c:pt idx="113">
                  <c:v>41569</c:v>
                </c:pt>
                <c:pt idx="114">
                  <c:v>41570</c:v>
                </c:pt>
                <c:pt idx="115">
                  <c:v>41571</c:v>
                </c:pt>
                <c:pt idx="116">
                  <c:v>41572</c:v>
                </c:pt>
                <c:pt idx="117">
                  <c:v>41574</c:v>
                </c:pt>
                <c:pt idx="118">
                  <c:v>41575</c:v>
                </c:pt>
                <c:pt idx="119">
                  <c:v>41576</c:v>
                </c:pt>
                <c:pt idx="120">
                  <c:v>41577</c:v>
                </c:pt>
                <c:pt idx="121">
                  <c:v>41578</c:v>
                </c:pt>
                <c:pt idx="122">
                  <c:v>41579</c:v>
                </c:pt>
                <c:pt idx="123">
                  <c:v>41581</c:v>
                </c:pt>
                <c:pt idx="124">
                  <c:v>41582</c:v>
                </c:pt>
                <c:pt idx="125">
                  <c:v>41583</c:v>
                </c:pt>
                <c:pt idx="126">
                  <c:v>41584</c:v>
                </c:pt>
                <c:pt idx="127">
                  <c:v>41585</c:v>
                </c:pt>
                <c:pt idx="128">
                  <c:v>41586</c:v>
                </c:pt>
                <c:pt idx="129">
                  <c:v>41588</c:v>
                </c:pt>
                <c:pt idx="130">
                  <c:v>41589</c:v>
                </c:pt>
                <c:pt idx="131">
                  <c:v>41590</c:v>
                </c:pt>
                <c:pt idx="132">
                  <c:v>41591</c:v>
                </c:pt>
                <c:pt idx="133">
                  <c:v>41592</c:v>
                </c:pt>
                <c:pt idx="134">
                  <c:v>41593</c:v>
                </c:pt>
                <c:pt idx="135">
                  <c:v>41595</c:v>
                </c:pt>
                <c:pt idx="136">
                  <c:v>41596</c:v>
                </c:pt>
                <c:pt idx="137">
                  <c:v>41597</c:v>
                </c:pt>
                <c:pt idx="138">
                  <c:v>41598</c:v>
                </c:pt>
                <c:pt idx="139">
                  <c:v>41599</c:v>
                </c:pt>
                <c:pt idx="140">
                  <c:v>41600</c:v>
                </c:pt>
                <c:pt idx="141">
                  <c:v>41602</c:v>
                </c:pt>
                <c:pt idx="142">
                  <c:v>41603</c:v>
                </c:pt>
                <c:pt idx="143">
                  <c:v>41604</c:v>
                </c:pt>
                <c:pt idx="144">
                  <c:v>41605</c:v>
                </c:pt>
                <c:pt idx="145">
                  <c:v>41606</c:v>
                </c:pt>
                <c:pt idx="146">
                  <c:v>41607</c:v>
                </c:pt>
                <c:pt idx="147">
                  <c:v>41608</c:v>
                </c:pt>
                <c:pt idx="148">
                  <c:v>41609</c:v>
                </c:pt>
                <c:pt idx="149">
                  <c:v>41610</c:v>
                </c:pt>
                <c:pt idx="150">
                  <c:v>41611</c:v>
                </c:pt>
                <c:pt idx="151">
                  <c:v>41612</c:v>
                </c:pt>
                <c:pt idx="152">
                  <c:v>41613</c:v>
                </c:pt>
                <c:pt idx="153">
                  <c:v>41614</c:v>
                </c:pt>
                <c:pt idx="154">
                  <c:v>41616</c:v>
                </c:pt>
                <c:pt idx="155">
                  <c:v>41617</c:v>
                </c:pt>
                <c:pt idx="156">
                  <c:v>41618</c:v>
                </c:pt>
                <c:pt idx="157">
                  <c:v>41619</c:v>
                </c:pt>
                <c:pt idx="158">
                  <c:v>41620</c:v>
                </c:pt>
                <c:pt idx="159">
                  <c:v>41621</c:v>
                </c:pt>
                <c:pt idx="160">
                  <c:v>41623</c:v>
                </c:pt>
                <c:pt idx="161">
                  <c:v>41624</c:v>
                </c:pt>
                <c:pt idx="162">
                  <c:v>41625</c:v>
                </c:pt>
                <c:pt idx="163">
                  <c:v>41626</c:v>
                </c:pt>
                <c:pt idx="164">
                  <c:v>41627</c:v>
                </c:pt>
                <c:pt idx="165">
                  <c:v>41628</c:v>
                </c:pt>
                <c:pt idx="166">
                  <c:v>41630</c:v>
                </c:pt>
                <c:pt idx="167">
                  <c:v>41631</c:v>
                </c:pt>
                <c:pt idx="168">
                  <c:v>41632</c:v>
                </c:pt>
                <c:pt idx="169">
                  <c:v>41633</c:v>
                </c:pt>
                <c:pt idx="170">
                  <c:v>41634</c:v>
                </c:pt>
                <c:pt idx="171">
                  <c:v>41635</c:v>
                </c:pt>
                <c:pt idx="172">
                  <c:v>41637</c:v>
                </c:pt>
                <c:pt idx="173">
                  <c:v>41638</c:v>
                </c:pt>
                <c:pt idx="174">
                  <c:v>41639</c:v>
                </c:pt>
                <c:pt idx="175">
                  <c:v>41640</c:v>
                </c:pt>
                <c:pt idx="176">
                  <c:v>41641</c:v>
                </c:pt>
                <c:pt idx="177">
                  <c:v>41642</c:v>
                </c:pt>
                <c:pt idx="178">
                  <c:v>41644</c:v>
                </c:pt>
                <c:pt idx="179">
                  <c:v>41645</c:v>
                </c:pt>
                <c:pt idx="180">
                  <c:v>41646</c:v>
                </c:pt>
                <c:pt idx="181">
                  <c:v>41647</c:v>
                </c:pt>
                <c:pt idx="182">
                  <c:v>41648</c:v>
                </c:pt>
                <c:pt idx="183">
                  <c:v>41649</c:v>
                </c:pt>
                <c:pt idx="184">
                  <c:v>41651</c:v>
                </c:pt>
                <c:pt idx="185">
                  <c:v>41652</c:v>
                </c:pt>
                <c:pt idx="186">
                  <c:v>41653</c:v>
                </c:pt>
                <c:pt idx="187">
                  <c:v>41654</c:v>
                </c:pt>
                <c:pt idx="188">
                  <c:v>41655</c:v>
                </c:pt>
                <c:pt idx="189">
                  <c:v>41656</c:v>
                </c:pt>
                <c:pt idx="190">
                  <c:v>41658</c:v>
                </c:pt>
                <c:pt idx="191">
                  <c:v>41659</c:v>
                </c:pt>
                <c:pt idx="192">
                  <c:v>41660</c:v>
                </c:pt>
                <c:pt idx="193">
                  <c:v>41661</c:v>
                </c:pt>
                <c:pt idx="194">
                  <c:v>41662</c:v>
                </c:pt>
                <c:pt idx="195">
                  <c:v>41663</c:v>
                </c:pt>
                <c:pt idx="196">
                  <c:v>41665</c:v>
                </c:pt>
                <c:pt idx="197">
                  <c:v>41666</c:v>
                </c:pt>
                <c:pt idx="198">
                  <c:v>41667</c:v>
                </c:pt>
                <c:pt idx="199">
                  <c:v>41668</c:v>
                </c:pt>
                <c:pt idx="200">
                  <c:v>41669</c:v>
                </c:pt>
                <c:pt idx="201">
                  <c:v>41670</c:v>
                </c:pt>
                <c:pt idx="202">
                  <c:v>41676</c:v>
                </c:pt>
                <c:pt idx="203">
                  <c:v>41677</c:v>
                </c:pt>
                <c:pt idx="204">
                  <c:v>41679</c:v>
                </c:pt>
                <c:pt idx="205">
                  <c:v>41680</c:v>
                </c:pt>
                <c:pt idx="206">
                  <c:v>41681</c:v>
                </c:pt>
                <c:pt idx="207">
                  <c:v>41682</c:v>
                </c:pt>
                <c:pt idx="208">
                  <c:v>41683</c:v>
                </c:pt>
                <c:pt idx="209">
                  <c:v>41684</c:v>
                </c:pt>
                <c:pt idx="210">
                  <c:v>41686</c:v>
                </c:pt>
                <c:pt idx="211">
                  <c:v>41687</c:v>
                </c:pt>
                <c:pt idx="212">
                  <c:v>41688</c:v>
                </c:pt>
                <c:pt idx="213">
                  <c:v>41689</c:v>
                </c:pt>
                <c:pt idx="214">
                  <c:v>41690</c:v>
                </c:pt>
                <c:pt idx="215">
                  <c:v>41691</c:v>
                </c:pt>
                <c:pt idx="216">
                  <c:v>41693</c:v>
                </c:pt>
                <c:pt idx="217">
                  <c:v>41694</c:v>
                </c:pt>
                <c:pt idx="218">
                  <c:v>41695</c:v>
                </c:pt>
                <c:pt idx="219">
                  <c:v>41696</c:v>
                </c:pt>
                <c:pt idx="220">
                  <c:v>41697</c:v>
                </c:pt>
                <c:pt idx="221">
                  <c:v>41698</c:v>
                </c:pt>
                <c:pt idx="222">
                  <c:v>41700</c:v>
                </c:pt>
                <c:pt idx="223">
                  <c:v>41701</c:v>
                </c:pt>
                <c:pt idx="224">
                  <c:v>41702</c:v>
                </c:pt>
                <c:pt idx="225">
                  <c:v>41703</c:v>
                </c:pt>
                <c:pt idx="226">
                  <c:v>41704</c:v>
                </c:pt>
                <c:pt idx="227">
                  <c:v>41705</c:v>
                </c:pt>
                <c:pt idx="228">
                  <c:v>41707</c:v>
                </c:pt>
                <c:pt idx="229">
                  <c:v>41708</c:v>
                </c:pt>
                <c:pt idx="230">
                  <c:v>41709</c:v>
                </c:pt>
                <c:pt idx="231">
                  <c:v>41710</c:v>
                </c:pt>
                <c:pt idx="232">
                  <c:v>41711</c:v>
                </c:pt>
                <c:pt idx="233">
                  <c:v>41712</c:v>
                </c:pt>
                <c:pt idx="234">
                  <c:v>41714</c:v>
                </c:pt>
                <c:pt idx="235">
                  <c:v>41715</c:v>
                </c:pt>
                <c:pt idx="236">
                  <c:v>41716</c:v>
                </c:pt>
                <c:pt idx="237">
                  <c:v>41717</c:v>
                </c:pt>
                <c:pt idx="238">
                  <c:v>41718</c:v>
                </c:pt>
                <c:pt idx="239">
                  <c:v>41719</c:v>
                </c:pt>
                <c:pt idx="240">
                  <c:v>41721</c:v>
                </c:pt>
                <c:pt idx="241">
                  <c:v>41722</c:v>
                </c:pt>
                <c:pt idx="242">
                  <c:v>41723</c:v>
                </c:pt>
                <c:pt idx="243">
                  <c:v>41724</c:v>
                </c:pt>
                <c:pt idx="244">
                  <c:v>41725</c:v>
                </c:pt>
                <c:pt idx="245">
                  <c:v>41726</c:v>
                </c:pt>
                <c:pt idx="246">
                  <c:v>41728</c:v>
                </c:pt>
                <c:pt idx="247">
                  <c:v>41729</c:v>
                </c:pt>
                <c:pt idx="248">
                  <c:v>41730</c:v>
                </c:pt>
                <c:pt idx="249">
                  <c:v>41731</c:v>
                </c:pt>
                <c:pt idx="250">
                  <c:v>41732</c:v>
                </c:pt>
                <c:pt idx="251">
                  <c:v>41733</c:v>
                </c:pt>
                <c:pt idx="252">
                  <c:v>41736</c:v>
                </c:pt>
                <c:pt idx="253">
                  <c:v>41737</c:v>
                </c:pt>
                <c:pt idx="254">
                  <c:v>41738</c:v>
                </c:pt>
                <c:pt idx="255">
                  <c:v>41739</c:v>
                </c:pt>
                <c:pt idx="256">
                  <c:v>41740</c:v>
                </c:pt>
                <c:pt idx="257">
                  <c:v>41742</c:v>
                </c:pt>
                <c:pt idx="258">
                  <c:v>41743</c:v>
                </c:pt>
                <c:pt idx="259">
                  <c:v>41744</c:v>
                </c:pt>
                <c:pt idx="260">
                  <c:v>41745</c:v>
                </c:pt>
                <c:pt idx="261">
                  <c:v>41746</c:v>
                </c:pt>
                <c:pt idx="262">
                  <c:v>41747</c:v>
                </c:pt>
                <c:pt idx="263">
                  <c:v>41749</c:v>
                </c:pt>
                <c:pt idx="264">
                  <c:v>41750</c:v>
                </c:pt>
                <c:pt idx="265">
                  <c:v>41751</c:v>
                </c:pt>
                <c:pt idx="266">
                  <c:v>41752</c:v>
                </c:pt>
                <c:pt idx="267">
                  <c:v>41753</c:v>
                </c:pt>
                <c:pt idx="268">
                  <c:v>41754</c:v>
                </c:pt>
                <c:pt idx="269">
                  <c:v>41756</c:v>
                </c:pt>
                <c:pt idx="270">
                  <c:v>41757</c:v>
                </c:pt>
                <c:pt idx="271">
                  <c:v>41758</c:v>
                </c:pt>
                <c:pt idx="272">
                  <c:v>41759</c:v>
                </c:pt>
                <c:pt idx="273">
                  <c:v>41763</c:v>
                </c:pt>
                <c:pt idx="274">
                  <c:v>41764</c:v>
                </c:pt>
                <c:pt idx="275">
                  <c:v>41765</c:v>
                </c:pt>
                <c:pt idx="276">
                  <c:v>41766</c:v>
                </c:pt>
                <c:pt idx="277">
                  <c:v>41767</c:v>
                </c:pt>
                <c:pt idx="278">
                  <c:v>41768</c:v>
                </c:pt>
                <c:pt idx="279">
                  <c:v>41770</c:v>
                </c:pt>
                <c:pt idx="280">
                  <c:v>41771</c:v>
                </c:pt>
                <c:pt idx="281">
                  <c:v>41772</c:v>
                </c:pt>
                <c:pt idx="282">
                  <c:v>41773</c:v>
                </c:pt>
                <c:pt idx="283">
                  <c:v>41774</c:v>
                </c:pt>
                <c:pt idx="284">
                  <c:v>41775</c:v>
                </c:pt>
                <c:pt idx="285">
                  <c:v>41777</c:v>
                </c:pt>
                <c:pt idx="286">
                  <c:v>41778</c:v>
                </c:pt>
                <c:pt idx="287">
                  <c:v>41779</c:v>
                </c:pt>
                <c:pt idx="288">
                  <c:v>41780</c:v>
                </c:pt>
                <c:pt idx="289">
                  <c:v>41781</c:v>
                </c:pt>
                <c:pt idx="290">
                  <c:v>41782</c:v>
                </c:pt>
                <c:pt idx="291">
                  <c:v>41784</c:v>
                </c:pt>
                <c:pt idx="292">
                  <c:v>41785</c:v>
                </c:pt>
                <c:pt idx="293">
                  <c:v>41786</c:v>
                </c:pt>
                <c:pt idx="294">
                  <c:v>41787</c:v>
                </c:pt>
                <c:pt idx="295">
                  <c:v>41788</c:v>
                </c:pt>
                <c:pt idx="296">
                  <c:v>41789</c:v>
                </c:pt>
                <c:pt idx="297">
                  <c:v>41790</c:v>
                </c:pt>
                <c:pt idx="298">
                  <c:v>41792</c:v>
                </c:pt>
                <c:pt idx="299">
                  <c:v>41793</c:v>
                </c:pt>
                <c:pt idx="300">
                  <c:v>41794</c:v>
                </c:pt>
                <c:pt idx="301">
                  <c:v>41795</c:v>
                </c:pt>
                <c:pt idx="302">
                  <c:v>41796</c:v>
                </c:pt>
                <c:pt idx="303">
                  <c:v>41798</c:v>
                </c:pt>
                <c:pt idx="304">
                  <c:v>41799</c:v>
                </c:pt>
                <c:pt idx="305">
                  <c:v>41800</c:v>
                </c:pt>
                <c:pt idx="306">
                  <c:v>41801</c:v>
                </c:pt>
                <c:pt idx="307">
                  <c:v>41802</c:v>
                </c:pt>
                <c:pt idx="308">
                  <c:v>41803</c:v>
                </c:pt>
                <c:pt idx="309">
                  <c:v>41805</c:v>
                </c:pt>
                <c:pt idx="310">
                  <c:v>41806</c:v>
                </c:pt>
                <c:pt idx="311">
                  <c:v>41807</c:v>
                </c:pt>
                <c:pt idx="312">
                  <c:v>41808</c:v>
                </c:pt>
                <c:pt idx="313">
                  <c:v>41809</c:v>
                </c:pt>
                <c:pt idx="314">
                  <c:v>41810</c:v>
                </c:pt>
                <c:pt idx="315">
                  <c:v>41812</c:v>
                </c:pt>
                <c:pt idx="316">
                  <c:v>41813</c:v>
                </c:pt>
                <c:pt idx="317">
                  <c:v>41814</c:v>
                </c:pt>
                <c:pt idx="318">
                  <c:v>41815</c:v>
                </c:pt>
                <c:pt idx="319">
                  <c:v>41816</c:v>
                </c:pt>
                <c:pt idx="320">
                  <c:v>41817</c:v>
                </c:pt>
                <c:pt idx="321">
                  <c:v>41819</c:v>
                </c:pt>
                <c:pt idx="322">
                  <c:v>41820</c:v>
                </c:pt>
                <c:pt idx="323">
                  <c:v>41821</c:v>
                </c:pt>
                <c:pt idx="324">
                  <c:v>41822</c:v>
                </c:pt>
                <c:pt idx="325">
                  <c:v>41823</c:v>
                </c:pt>
                <c:pt idx="326">
                  <c:v>41824</c:v>
                </c:pt>
                <c:pt idx="327">
                  <c:v>41826</c:v>
                </c:pt>
                <c:pt idx="328">
                  <c:v>41827</c:v>
                </c:pt>
                <c:pt idx="329">
                  <c:v>41828</c:v>
                </c:pt>
                <c:pt idx="330">
                  <c:v>41829</c:v>
                </c:pt>
                <c:pt idx="331">
                  <c:v>41830</c:v>
                </c:pt>
                <c:pt idx="332">
                  <c:v>41831</c:v>
                </c:pt>
                <c:pt idx="333">
                  <c:v>41833</c:v>
                </c:pt>
                <c:pt idx="334">
                  <c:v>41834</c:v>
                </c:pt>
                <c:pt idx="335">
                  <c:v>41835</c:v>
                </c:pt>
                <c:pt idx="336">
                  <c:v>41836</c:v>
                </c:pt>
                <c:pt idx="337">
                  <c:v>41837</c:v>
                </c:pt>
                <c:pt idx="338">
                  <c:v>41838</c:v>
                </c:pt>
                <c:pt idx="339">
                  <c:v>41840</c:v>
                </c:pt>
                <c:pt idx="340">
                  <c:v>41841</c:v>
                </c:pt>
                <c:pt idx="341">
                  <c:v>41842</c:v>
                </c:pt>
                <c:pt idx="342">
                  <c:v>41843</c:v>
                </c:pt>
                <c:pt idx="343">
                  <c:v>41844</c:v>
                </c:pt>
                <c:pt idx="344">
                  <c:v>41845</c:v>
                </c:pt>
                <c:pt idx="345">
                  <c:v>41847</c:v>
                </c:pt>
                <c:pt idx="346">
                  <c:v>41848</c:v>
                </c:pt>
                <c:pt idx="347">
                  <c:v>41849</c:v>
                </c:pt>
                <c:pt idx="348">
                  <c:v>41850</c:v>
                </c:pt>
                <c:pt idx="349">
                  <c:v>41851</c:v>
                </c:pt>
                <c:pt idx="350">
                  <c:v>41852</c:v>
                </c:pt>
                <c:pt idx="351">
                  <c:v>41854</c:v>
                </c:pt>
                <c:pt idx="352">
                  <c:v>41855</c:v>
                </c:pt>
                <c:pt idx="353">
                  <c:v>41856</c:v>
                </c:pt>
                <c:pt idx="354">
                  <c:v>41857</c:v>
                </c:pt>
                <c:pt idx="355">
                  <c:v>41858</c:v>
                </c:pt>
                <c:pt idx="356">
                  <c:v>41859</c:v>
                </c:pt>
                <c:pt idx="357">
                  <c:v>41861</c:v>
                </c:pt>
                <c:pt idx="358">
                  <c:v>41862</c:v>
                </c:pt>
                <c:pt idx="359">
                  <c:v>41863</c:v>
                </c:pt>
                <c:pt idx="360">
                  <c:v>41864</c:v>
                </c:pt>
                <c:pt idx="361">
                  <c:v>41865</c:v>
                </c:pt>
                <c:pt idx="362">
                  <c:v>41866</c:v>
                </c:pt>
                <c:pt idx="363">
                  <c:v>41868</c:v>
                </c:pt>
                <c:pt idx="364">
                  <c:v>41869</c:v>
                </c:pt>
                <c:pt idx="365">
                  <c:v>41870</c:v>
                </c:pt>
                <c:pt idx="366">
                  <c:v>41871</c:v>
                </c:pt>
                <c:pt idx="367">
                  <c:v>41872</c:v>
                </c:pt>
                <c:pt idx="368">
                  <c:v>41873</c:v>
                </c:pt>
                <c:pt idx="369">
                  <c:v>41875</c:v>
                </c:pt>
                <c:pt idx="370">
                  <c:v>41876</c:v>
                </c:pt>
                <c:pt idx="371">
                  <c:v>41877</c:v>
                </c:pt>
                <c:pt idx="372">
                  <c:v>41878</c:v>
                </c:pt>
                <c:pt idx="373">
                  <c:v>41879</c:v>
                </c:pt>
                <c:pt idx="374">
                  <c:v>41880</c:v>
                </c:pt>
                <c:pt idx="375">
                  <c:v>41882</c:v>
                </c:pt>
                <c:pt idx="376">
                  <c:v>41883</c:v>
                </c:pt>
                <c:pt idx="377">
                  <c:v>41884</c:v>
                </c:pt>
                <c:pt idx="378">
                  <c:v>41885</c:v>
                </c:pt>
                <c:pt idx="379">
                  <c:v>41886</c:v>
                </c:pt>
                <c:pt idx="380">
                  <c:v>41887</c:v>
                </c:pt>
                <c:pt idx="381">
                  <c:v>41890</c:v>
                </c:pt>
                <c:pt idx="382">
                  <c:v>41891</c:v>
                </c:pt>
                <c:pt idx="383">
                  <c:v>41892</c:v>
                </c:pt>
                <c:pt idx="384">
                  <c:v>41893</c:v>
                </c:pt>
                <c:pt idx="385">
                  <c:v>41894</c:v>
                </c:pt>
                <c:pt idx="386">
                  <c:v>41896</c:v>
                </c:pt>
                <c:pt idx="387">
                  <c:v>41897</c:v>
                </c:pt>
                <c:pt idx="388">
                  <c:v>41898</c:v>
                </c:pt>
                <c:pt idx="389">
                  <c:v>41899</c:v>
                </c:pt>
                <c:pt idx="390">
                  <c:v>41900</c:v>
                </c:pt>
                <c:pt idx="391">
                  <c:v>41901</c:v>
                </c:pt>
                <c:pt idx="392">
                  <c:v>41903</c:v>
                </c:pt>
                <c:pt idx="393">
                  <c:v>41904</c:v>
                </c:pt>
                <c:pt idx="394">
                  <c:v>41905</c:v>
                </c:pt>
                <c:pt idx="395">
                  <c:v>41906</c:v>
                </c:pt>
                <c:pt idx="396">
                  <c:v>41907</c:v>
                </c:pt>
                <c:pt idx="397">
                  <c:v>41908</c:v>
                </c:pt>
                <c:pt idx="398">
                  <c:v>41910</c:v>
                </c:pt>
                <c:pt idx="399">
                  <c:v>41911</c:v>
                </c:pt>
                <c:pt idx="400">
                  <c:v>41912</c:v>
                </c:pt>
                <c:pt idx="401">
                  <c:v>41919</c:v>
                </c:pt>
                <c:pt idx="402">
                  <c:v>41920</c:v>
                </c:pt>
                <c:pt idx="403">
                  <c:v>41921</c:v>
                </c:pt>
                <c:pt idx="404">
                  <c:v>41922</c:v>
                </c:pt>
                <c:pt idx="405">
                  <c:v>41924</c:v>
                </c:pt>
                <c:pt idx="406">
                  <c:v>41925</c:v>
                </c:pt>
                <c:pt idx="407">
                  <c:v>41926</c:v>
                </c:pt>
                <c:pt idx="408">
                  <c:v>41927</c:v>
                </c:pt>
                <c:pt idx="409">
                  <c:v>41928</c:v>
                </c:pt>
                <c:pt idx="410">
                  <c:v>41929</c:v>
                </c:pt>
                <c:pt idx="411">
                  <c:v>41931</c:v>
                </c:pt>
                <c:pt idx="412">
                  <c:v>41932</c:v>
                </c:pt>
                <c:pt idx="413">
                  <c:v>41933</c:v>
                </c:pt>
                <c:pt idx="414">
                  <c:v>41934</c:v>
                </c:pt>
                <c:pt idx="415">
                  <c:v>41935</c:v>
                </c:pt>
                <c:pt idx="416">
                  <c:v>41936</c:v>
                </c:pt>
                <c:pt idx="417">
                  <c:v>41938</c:v>
                </c:pt>
                <c:pt idx="418">
                  <c:v>41939</c:v>
                </c:pt>
                <c:pt idx="419">
                  <c:v>41940</c:v>
                </c:pt>
                <c:pt idx="420">
                  <c:v>41941</c:v>
                </c:pt>
                <c:pt idx="421">
                  <c:v>41942</c:v>
                </c:pt>
                <c:pt idx="422">
                  <c:v>41943</c:v>
                </c:pt>
                <c:pt idx="423">
                  <c:v>41945</c:v>
                </c:pt>
                <c:pt idx="424">
                  <c:v>41946</c:v>
                </c:pt>
                <c:pt idx="425">
                  <c:v>41947</c:v>
                </c:pt>
                <c:pt idx="426">
                  <c:v>41948</c:v>
                </c:pt>
                <c:pt idx="427">
                  <c:v>41949</c:v>
                </c:pt>
                <c:pt idx="428">
                  <c:v>41950</c:v>
                </c:pt>
                <c:pt idx="429">
                  <c:v>41952</c:v>
                </c:pt>
                <c:pt idx="430">
                  <c:v>41953</c:v>
                </c:pt>
                <c:pt idx="431">
                  <c:v>41954</c:v>
                </c:pt>
                <c:pt idx="432">
                  <c:v>41955</c:v>
                </c:pt>
                <c:pt idx="433">
                  <c:v>41956</c:v>
                </c:pt>
                <c:pt idx="434">
                  <c:v>41957</c:v>
                </c:pt>
                <c:pt idx="435">
                  <c:v>41959</c:v>
                </c:pt>
                <c:pt idx="436">
                  <c:v>41960</c:v>
                </c:pt>
                <c:pt idx="437">
                  <c:v>41961</c:v>
                </c:pt>
                <c:pt idx="438">
                  <c:v>41962</c:v>
                </c:pt>
                <c:pt idx="439">
                  <c:v>41963</c:v>
                </c:pt>
                <c:pt idx="440">
                  <c:v>41964</c:v>
                </c:pt>
                <c:pt idx="441">
                  <c:v>41965</c:v>
                </c:pt>
                <c:pt idx="442">
                  <c:v>41966</c:v>
                </c:pt>
                <c:pt idx="443">
                  <c:v>41967</c:v>
                </c:pt>
                <c:pt idx="444">
                  <c:v>41968</c:v>
                </c:pt>
                <c:pt idx="445">
                  <c:v>41969</c:v>
                </c:pt>
                <c:pt idx="446">
                  <c:v>41970</c:v>
                </c:pt>
                <c:pt idx="447">
                  <c:v>41971</c:v>
                </c:pt>
                <c:pt idx="448">
                  <c:v>41973</c:v>
                </c:pt>
                <c:pt idx="449">
                  <c:v>41974</c:v>
                </c:pt>
                <c:pt idx="450">
                  <c:v>41975</c:v>
                </c:pt>
                <c:pt idx="451">
                  <c:v>41976</c:v>
                </c:pt>
                <c:pt idx="452">
                  <c:v>41977</c:v>
                </c:pt>
                <c:pt idx="453">
                  <c:v>41978</c:v>
                </c:pt>
                <c:pt idx="454">
                  <c:v>41980</c:v>
                </c:pt>
                <c:pt idx="455">
                  <c:v>41981</c:v>
                </c:pt>
                <c:pt idx="456">
                  <c:v>41982</c:v>
                </c:pt>
                <c:pt idx="457">
                  <c:v>41983</c:v>
                </c:pt>
                <c:pt idx="458">
                  <c:v>41984</c:v>
                </c:pt>
                <c:pt idx="459">
                  <c:v>41985</c:v>
                </c:pt>
                <c:pt idx="460">
                  <c:v>41987</c:v>
                </c:pt>
                <c:pt idx="461">
                  <c:v>41988</c:v>
                </c:pt>
                <c:pt idx="462">
                  <c:v>41989</c:v>
                </c:pt>
                <c:pt idx="463">
                  <c:v>41990</c:v>
                </c:pt>
                <c:pt idx="464">
                  <c:v>41991</c:v>
                </c:pt>
                <c:pt idx="465">
                  <c:v>41992</c:v>
                </c:pt>
                <c:pt idx="466">
                  <c:v>41994</c:v>
                </c:pt>
                <c:pt idx="467">
                  <c:v>41995</c:v>
                </c:pt>
                <c:pt idx="468">
                  <c:v>41996</c:v>
                </c:pt>
                <c:pt idx="469">
                  <c:v>41997</c:v>
                </c:pt>
                <c:pt idx="470">
                  <c:v>41998</c:v>
                </c:pt>
                <c:pt idx="471">
                  <c:v>41999</c:v>
                </c:pt>
                <c:pt idx="472">
                  <c:v>42001</c:v>
                </c:pt>
                <c:pt idx="473">
                  <c:v>42002</c:v>
                </c:pt>
                <c:pt idx="474">
                  <c:v>42003</c:v>
                </c:pt>
                <c:pt idx="475">
                  <c:v>42004</c:v>
                </c:pt>
                <c:pt idx="476">
                  <c:v>42008</c:v>
                </c:pt>
                <c:pt idx="477">
                  <c:v>42009</c:v>
                </c:pt>
                <c:pt idx="478">
                  <c:v>42010</c:v>
                </c:pt>
                <c:pt idx="479">
                  <c:v>42011</c:v>
                </c:pt>
                <c:pt idx="480">
                  <c:v>42012</c:v>
                </c:pt>
                <c:pt idx="481">
                  <c:v>42013</c:v>
                </c:pt>
                <c:pt idx="482">
                  <c:v>42015</c:v>
                </c:pt>
                <c:pt idx="483">
                  <c:v>42016</c:v>
                </c:pt>
                <c:pt idx="484">
                  <c:v>42017</c:v>
                </c:pt>
                <c:pt idx="485">
                  <c:v>42018</c:v>
                </c:pt>
                <c:pt idx="486">
                  <c:v>42019</c:v>
                </c:pt>
                <c:pt idx="487">
                  <c:v>42020</c:v>
                </c:pt>
                <c:pt idx="488">
                  <c:v>42022</c:v>
                </c:pt>
                <c:pt idx="489">
                  <c:v>42023</c:v>
                </c:pt>
                <c:pt idx="490">
                  <c:v>42024</c:v>
                </c:pt>
                <c:pt idx="491">
                  <c:v>42025</c:v>
                </c:pt>
                <c:pt idx="492">
                  <c:v>42026</c:v>
                </c:pt>
                <c:pt idx="493">
                  <c:v>42027</c:v>
                </c:pt>
                <c:pt idx="494">
                  <c:v>42029</c:v>
                </c:pt>
                <c:pt idx="495">
                  <c:v>42030</c:v>
                </c:pt>
                <c:pt idx="496">
                  <c:v>42031</c:v>
                </c:pt>
                <c:pt idx="497">
                  <c:v>42032</c:v>
                </c:pt>
                <c:pt idx="498">
                  <c:v>42033</c:v>
                </c:pt>
                <c:pt idx="499">
                  <c:v>42034</c:v>
                </c:pt>
                <c:pt idx="500">
                  <c:v>42035</c:v>
                </c:pt>
                <c:pt idx="501">
                  <c:v>42036</c:v>
                </c:pt>
                <c:pt idx="502">
                  <c:v>42037</c:v>
                </c:pt>
                <c:pt idx="503">
                  <c:v>42038</c:v>
                </c:pt>
                <c:pt idx="504">
                  <c:v>42039</c:v>
                </c:pt>
                <c:pt idx="505">
                  <c:v>42040</c:v>
                </c:pt>
                <c:pt idx="506">
                  <c:v>42041</c:v>
                </c:pt>
                <c:pt idx="507">
                  <c:v>42043</c:v>
                </c:pt>
                <c:pt idx="508">
                  <c:v>42044</c:v>
                </c:pt>
                <c:pt idx="509">
                  <c:v>42045</c:v>
                </c:pt>
                <c:pt idx="510">
                  <c:v>42046</c:v>
                </c:pt>
                <c:pt idx="511">
                  <c:v>42047</c:v>
                </c:pt>
                <c:pt idx="512">
                  <c:v>42048</c:v>
                </c:pt>
                <c:pt idx="513">
                  <c:v>42050</c:v>
                </c:pt>
                <c:pt idx="514">
                  <c:v>42051</c:v>
                </c:pt>
                <c:pt idx="515">
                  <c:v>42052</c:v>
                </c:pt>
                <c:pt idx="516">
                  <c:v>42059</c:v>
                </c:pt>
                <c:pt idx="517">
                  <c:v>42060</c:v>
                </c:pt>
                <c:pt idx="518">
                  <c:v>42061</c:v>
                </c:pt>
                <c:pt idx="519">
                  <c:v>42062</c:v>
                </c:pt>
                <c:pt idx="520">
                  <c:v>42063</c:v>
                </c:pt>
                <c:pt idx="521">
                  <c:v>42064</c:v>
                </c:pt>
                <c:pt idx="522">
                  <c:v>42065</c:v>
                </c:pt>
                <c:pt idx="523">
                  <c:v>42066</c:v>
                </c:pt>
                <c:pt idx="524">
                  <c:v>42067</c:v>
                </c:pt>
                <c:pt idx="525">
                  <c:v>42068</c:v>
                </c:pt>
                <c:pt idx="526">
                  <c:v>42069</c:v>
                </c:pt>
                <c:pt idx="527">
                  <c:v>42071</c:v>
                </c:pt>
                <c:pt idx="528">
                  <c:v>42072</c:v>
                </c:pt>
                <c:pt idx="529">
                  <c:v>42073</c:v>
                </c:pt>
                <c:pt idx="530">
                  <c:v>42074</c:v>
                </c:pt>
                <c:pt idx="531">
                  <c:v>42075</c:v>
                </c:pt>
                <c:pt idx="532">
                  <c:v>42076</c:v>
                </c:pt>
                <c:pt idx="533">
                  <c:v>42078</c:v>
                </c:pt>
                <c:pt idx="534">
                  <c:v>42079</c:v>
                </c:pt>
                <c:pt idx="535">
                  <c:v>42080</c:v>
                </c:pt>
                <c:pt idx="536">
                  <c:v>42081</c:v>
                </c:pt>
                <c:pt idx="537">
                  <c:v>42082</c:v>
                </c:pt>
                <c:pt idx="538">
                  <c:v>42083</c:v>
                </c:pt>
                <c:pt idx="539">
                  <c:v>42085</c:v>
                </c:pt>
                <c:pt idx="540">
                  <c:v>42086</c:v>
                </c:pt>
                <c:pt idx="541">
                  <c:v>42087</c:v>
                </c:pt>
                <c:pt idx="542">
                  <c:v>42088</c:v>
                </c:pt>
                <c:pt idx="543">
                  <c:v>42089</c:v>
                </c:pt>
                <c:pt idx="544">
                  <c:v>42090</c:v>
                </c:pt>
                <c:pt idx="545">
                  <c:v>42092</c:v>
                </c:pt>
                <c:pt idx="546">
                  <c:v>42093</c:v>
                </c:pt>
                <c:pt idx="547">
                  <c:v>42094</c:v>
                </c:pt>
                <c:pt idx="548">
                  <c:v>42095</c:v>
                </c:pt>
                <c:pt idx="549">
                  <c:v>42096</c:v>
                </c:pt>
                <c:pt idx="550">
                  <c:v>42097</c:v>
                </c:pt>
                <c:pt idx="551">
                  <c:v>42100</c:v>
                </c:pt>
                <c:pt idx="552">
                  <c:v>42101</c:v>
                </c:pt>
                <c:pt idx="553">
                  <c:v>42102</c:v>
                </c:pt>
                <c:pt idx="554">
                  <c:v>42103</c:v>
                </c:pt>
                <c:pt idx="555">
                  <c:v>42104</c:v>
                </c:pt>
                <c:pt idx="556">
                  <c:v>42106</c:v>
                </c:pt>
                <c:pt idx="557">
                  <c:v>42107</c:v>
                </c:pt>
                <c:pt idx="558">
                  <c:v>42108</c:v>
                </c:pt>
                <c:pt idx="559">
                  <c:v>42109</c:v>
                </c:pt>
                <c:pt idx="560">
                  <c:v>42110</c:v>
                </c:pt>
                <c:pt idx="561">
                  <c:v>42111</c:v>
                </c:pt>
                <c:pt idx="562">
                  <c:v>42113</c:v>
                </c:pt>
                <c:pt idx="563">
                  <c:v>42114</c:v>
                </c:pt>
                <c:pt idx="564">
                  <c:v>42115</c:v>
                </c:pt>
                <c:pt idx="565">
                  <c:v>42116</c:v>
                </c:pt>
                <c:pt idx="566">
                  <c:v>42117</c:v>
                </c:pt>
                <c:pt idx="567">
                  <c:v>42118</c:v>
                </c:pt>
                <c:pt idx="568">
                  <c:v>42120</c:v>
                </c:pt>
                <c:pt idx="569">
                  <c:v>42121</c:v>
                </c:pt>
                <c:pt idx="570">
                  <c:v>42122</c:v>
                </c:pt>
                <c:pt idx="571">
                  <c:v>42123</c:v>
                </c:pt>
                <c:pt idx="572">
                  <c:v>42124</c:v>
                </c:pt>
                <c:pt idx="573">
                  <c:v>42127</c:v>
                </c:pt>
                <c:pt idx="574">
                  <c:v>42128</c:v>
                </c:pt>
                <c:pt idx="575">
                  <c:v>42129</c:v>
                </c:pt>
                <c:pt idx="576">
                  <c:v>42130</c:v>
                </c:pt>
                <c:pt idx="577">
                  <c:v>42131</c:v>
                </c:pt>
                <c:pt idx="578">
                  <c:v>42132</c:v>
                </c:pt>
                <c:pt idx="579">
                  <c:v>42134</c:v>
                </c:pt>
                <c:pt idx="580">
                  <c:v>42135</c:v>
                </c:pt>
                <c:pt idx="581">
                  <c:v>42136</c:v>
                </c:pt>
                <c:pt idx="582">
                  <c:v>42137</c:v>
                </c:pt>
                <c:pt idx="583">
                  <c:v>42138</c:v>
                </c:pt>
                <c:pt idx="584">
                  <c:v>42139</c:v>
                </c:pt>
                <c:pt idx="585">
                  <c:v>42141</c:v>
                </c:pt>
                <c:pt idx="586">
                  <c:v>42142</c:v>
                </c:pt>
                <c:pt idx="587">
                  <c:v>42143</c:v>
                </c:pt>
                <c:pt idx="588">
                  <c:v>42144</c:v>
                </c:pt>
                <c:pt idx="589">
                  <c:v>42145</c:v>
                </c:pt>
                <c:pt idx="590">
                  <c:v>42146</c:v>
                </c:pt>
                <c:pt idx="591">
                  <c:v>42148</c:v>
                </c:pt>
                <c:pt idx="592">
                  <c:v>42149</c:v>
                </c:pt>
                <c:pt idx="593">
                  <c:v>42150</c:v>
                </c:pt>
                <c:pt idx="594">
                  <c:v>42151</c:v>
                </c:pt>
                <c:pt idx="595">
                  <c:v>42152</c:v>
                </c:pt>
                <c:pt idx="596">
                  <c:v>42153</c:v>
                </c:pt>
                <c:pt idx="597">
                  <c:v>42155</c:v>
                </c:pt>
                <c:pt idx="598">
                  <c:v>42156</c:v>
                </c:pt>
                <c:pt idx="599">
                  <c:v>42157</c:v>
                </c:pt>
                <c:pt idx="600">
                  <c:v>42158</c:v>
                </c:pt>
                <c:pt idx="601">
                  <c:v>42159</c:v>
                </c:pt>
                <c:pt idx="602">
                  <c:v>42160</c:v>
                </c:pt>
                <c:pt idx="603">
                  <c:v>42162</c:v>
                </c:pt>
                <c:pt idx="604">
                  <c:v>42163</c:v>
                </c:pt>
                <c:pt idx="605">
                  <c:v>42164</c:v>
                </c:pt>
                <c:pt idx="606">
                  <c:v>42165</c:v>
                </c:pt>
                <c:pt idx="607">
                  <c:v>42166</c:v>
                </c:pt>
                <c:pt idx="608">
                  <c:v>42167</c:v>
                </c:pt>
                <c:pt idx="609">
                  <c:v>42169</c:v>
                </c:pt>
                <c:pt idx="610">
                  <c:v>42170</c:v>
                </c:pt>
                <c:pt idx="611">
                  <c:v>42171</c:v>
                </c:pt>
                <c:pt idx="612">
                  <c:v>42172</c:v>
                </c:pt>
                <c:pt idx="613">
                  <c:v>42173</c:v>
                </c:pt>
                <c:pt idx="614">
                  <c:v>42174</c:v>
                </c:pt>
                <c:pt idx="615">
                  <c:v>42177</c:v>
                </c:pt>
                <c:pt idx="616">
                  <c:v>42178</c:v>
                </c:pt>
                <c:pt idx="617">
                  <c:v>42179</c:v>
                </c:pt>
                <c:pt idx="618">
                  <c:v>42180</c:v>
                </c:pt>
                <c:pt idx="619">
                  <c:v>42181</c:v>
                </c:pt>
                <c:pt idx="620">
                  <c:v>42183</c:v>
                </c:pt>
                <c:pt idx="621">
                  <c:v>42184</c:v>
                </c:pt>
                <c:pt idx="622">
                  <c:v>42185</c:v>
                </c:pt>
                <c:pt idx="623">
                  <c:v>42186</c:v>
                </c:pt>
                <c:pt idx="624">
                  <c:v>42187</c:v>
                </c:pt>
                <c:pt idx="625">
                  <c:v>42188</c:v>
                </c:pt>
                <c:pt idx="626">
                  <c:v>42190</c:v>
                </c:pt>
                <c:pt idx="627">
                  <c:v>42191</c:v>
                </c:pt>
                <c:pt idx="628">
                  <c:v>42192</c:v>
                </c:pt>
                <c:pt idx="629">
                  <c:v>42193</c:v>
                </c:pt>
                <c:pt idx="630">
                  <c:v>42194</c:v>
                </c:pt>
                <c:pt idx="631">
                  <c:v>42195</c:v>
                </c:pt>
                <c:pt idx="632">
                  <c:v>42197</c:v>
                </c:pt>
                <c:pt idx="633">
                  <c:v>42198</c:v>
                </c:pt>
                <c:pt idx="634">
                  <c:v>42199</c:v>
                </c:pt>
                <c:pt idx="635">
                  <c:v>42200</c:v>
                </c:pt>
                <c:pt idx="636">
                  <c:v>42201</c:v>
                </c:pt>
                <c:pt idx="637">
                  <c:v>42202</c:v>
                </c:pt>
                <c:pt idx="638">
                  <c:v>42204</c:v>
                </c:pt>
                <c:pt idx="639">
                  <c:v>42205</c:v>
                </c:pt>
                <c:pt idx="640">
                  <c:v>42206</c:v>
                </c:pt>
                <c:pt idx="641">
                  <c:v>42207</c:v>
                </c:pt>
                <c:pt idx="642">
                  <c:v>42208</c:v>
                </c:pt>
                <c:pt idx="643">
                  <c:v>42209</c:v>
                </c:pt>
                <c:pt idx="644">
                  <c:v>42211</c:v>
                </c:pt>
                <c:pt idx="645">
                  <c:v>42212</c:v>
                </c:pt>
                <c:pt idx="646">
                  <c:v>42213</c:v>
                </c:pt>
                <c:pt idx="647">
                  <c:v>42214</c:v>
                </c:pt>
                <c:pt idx="648">
                  <c:v>42215</c:v>
                </c:pt>
                <c:pt idx="649">
                  <c:v>42216</c:v>
                </c:pt>
                <c:pt idx="650">
                  <c:v>42218</c:v>
                </c:pt>
                <c:pt idx="651">
                  <c:v>42219</c:v>
                </c:pt>
                <c:pt idx="652">
                  <c:v>42220</c:v>
                </c:pt>
                <c:pt idx="653">
                  <c:v>42221</c:v>
                </c:pt>
                <c:pt idx="654">
                  <c:v>42222</c:v>
                </c:pt>
                <c:pt idx="655">
                  <c:v>42223</c:v>
                </c:pt>
                <c:pt idx="656">
                  <c:v>42225</c:v>
                </c:pt>
                <c:pt idx="657">
                  <c:v>42226</c:v>
                </c:pt>
                <c:pt idx="658">
                  <c:v>42227</c:v>
                </c:pt>
                <c:pt idx="659">
                  <c:v>42228</c:v>
                </c:pt>
                <c:pt idx="660">
                  <c:v>42229</c:v>
                </c:pt>
                <c:pt idx="661">
                  <c:v>42230</c:v>
                </c:pt>
                <c:pt idx="662">
                  <c:v>42232</c:v>
                </c:pt>
                <c:pt idx="663">
                  <c:v>42233</c:v>
                </c:pt>
                <c:pt idx="664">
                  <c:v>42234</c:v>
                </c:pt>
                <c:pt idx="665">
                  <c:v>42235</c:v>
                </c:pt>
                <c:pt idx="666">
                  <c:v>42236</c:v>
                </c:pt>
                <c:pt idx="667">
                  <c:v>42237</c:v>
                </c:pt>
                <c:pt idx="668">
                  <c:v>42239</c:v>
                </c:pt>
                <c:pt idx="669">
                  <c:v>42240</c:v>
                </c:pt>
                <c:pt idx="670">
                  <c:v>42241</c:v>
                </c:pt>
                <c:pt idx="671">
                  <c:v>42242</c:v>
                </c:pt>
                <c:pt idx="672">
                  <c:v>42243</c:v>
                </c:pt>
                <c:pt idx="673">
                  <c:v>42244</c:v>
                </c:pt>
                <c:pt idx="674">
                  <c:v>42246</c:v>
                </c:pt>
                <c:pt idx="675">
                  <c:v>42247</c:v>
                </c:pt>
                <c:pt idx="676">
                  <c:v>42248</c:v>
                </c:pt>
                <c:pt idx="677">
                  <c:v>42249</c:v>
                </c:pt>
                <c:pt idx="678">
                  <c:v>42253</c:v>
                </c:pt>
                <c:pt idx="679">
                  <c:v>42254</c:v>
                </c:pt>
                <c:pt idx="680">
                  <c:v>42255</c:v>
                </c:pt>
                <c:pt idx="681">
                  <c:v>42256</c:v>
                </c:pt>
                <c:pt idx="682">
                  <c:v>42257</c:v>
                </c:pt>
                <c:pt idx="683">
                  <c:v>42258</c:v>
                </c:pt>
                <c:pt idx="684">
                  <c:v>42260</c:v>
                </c:pt>
                <c:pt idx="685">
                  <c:v>42261</c:v>
                </c:pt>
                <c:pt idx="686">
                  <c:v>42262</c:v>
                </c:pt>
                <c:pt idx="687">
                  <c:v>42263</c:v>
                </c:pt>
                <c:pt idx="688">
                  <c:v>42264</c:v>
                </c:pt>
                <c:pt idx="689">
                  <c:v>42265</c:v>
                </c:pt>
                <c:pt idx="690">
                  <c:v>42267</c:v>
                </c:pt>
                <c:pt idx="691">
                  <c:v>42268</c:v>
                </c:pt>
                <c:pt idx="692">
                  <c:v>42269</c:v>
                </c:pt>
                <c:pt idx="693">
                  <c:v>42270</c:v>
                </c:pt>
                <c:pt idx="694">
                  <c:v>42271</c:v>
                </c:pt>
                <c:pt idx="695">
                  <c:v>42272</c:v>
                </c:pt>
                <c:pt idx="696">
                  <c:v>42274</c:v>
                </c:pt>
                <c:pt idx="697">
                  <c:v>42275</c:v>
                </c:pt>
                <c:pt idx="698">
                  <c:v>42276</c:v>
                </c:pt>
                <c:pt idx="699">
                  <c:v>42277</c:v>
                </c:pt>
                <c:pt idx="700">
                  <c:v>42284</c:v>
                </c:pt>
                <c:pt idx="701">
                  <c:v>42285</c:v>
                </c:pt>
                <c:pt idx="702">
                  <c:v>42286</c:v>
                </c:pt>
                <c:pt idx="703">
                  <c:v>42288</c:v>
                </c:pt>
                <c:pt idx="704">
                  <c:v>42289</c:v>
                </c:pt>
                <c:pt idx="705">
                  <c:v>42290</c:v>
                </c:pt>
                <c:pt idx="706">
                  <c:v>42291</c:v>
                </c:pt>
                <c:pt idx="707">
                  <c:v>42292</c:v>
                </c:pt>
                <c:pt idx="708">
                  <c:v>42293</c:v>
                </c:pt>
                <c:pt idx="709">
                  <c:v>42295</c:v>
                </c:pt>
                <c:pt idx="710">
                  <c:v>42296</c:v>
                </c:pt>
                <c:pt idx="711">
                  <c:v>42297</c:v>
                </c:pt>
                <c:pt idx="712">
                  <c:v>42298</c:v>
                </c:pt>
                <c:pt idx="713">
                  <c:v>42299</c:v>
                </c:pt>
                <c:pt idx="714">
                  <c:v>42300</c:v>
                </c:pt>
                <c:pt idx="715">
                  <c:v>42301</c:v>
                </c:pt>
                <c:pt idx="716">
                  <c:v>42302</c:v>
                </c:pt>
                <c:pt idx="717">
                  <c:v>42303</c:v>
                </c:pt>
                <c:pt idx="718">
                  <c:v>42304</c:v>
                </c:pt>
                <c:pt idx="719">
                  <c:v>42305</c:v>
                </c:pt>
                <c:pt idx="720">
                  <c:v>42306</c:v>
                </c:pt>
                <c:pt idx="721">
                  <c:v>42307</c:v>
                </c:pt>
                <c:pt idx="722">
                  <c:v>42308</c:v>
                </c:pt>
                <c:pt idx="723">
                  <c:v>42309</c:v>
                </c:pt>
                <c:pt idx="724">
                  <c:v>42310</c:v>
                </c:pt>
                <c:pt idx="725">
                  <c:v>42311</c:v>
                </c:pt>
                <c:pt idx="726">
                  <c:v>42312</c:v>
                </c:pt>
                <c:pt idx="727">
                  <c:v>42313</c:v>
                </c:pt>
                <c:pt idx="728">
                  <c:v>42314</c:v>
                </c:pt>
                <c:pt idx="729">
                  <c:v>42316</c:v>
                </c:pt>
                <c:pt idx="730">
                  <c:v>42317</c:v>
                </c:pt>
                <c:pt idx="731">
                  <c:v>42318</c:v>
                </c:pt>
                <c:pt idx="732">
                  <c:v>42319</c:v>
                </c:pt>
                <c:pt idx="733">
                  <c:v>42320</c:v>
                </c:pt>
                <c:pt idx="734">
                  <c:v>42321</c:v>
                </c:pt>
                <c:pt idx="735">
                  <c:v>42323</c:v>
                </c:pt>
                <c:pt idx="736">
                  <c:v>42324</c:v>
                </c:pt>
                <c:pt idx="737">
                  <c:v>42325</c:v>
                </c:pt>
                <c:pt idx="738">
                  <c:v>42326</c:v>
                </c:pt>
                <c:pt idx="739">
                  <c:v>42327</c:v>
                </c:pt>
                <c:pt idx="740">
                  <c:v>42328</c:v>
                </c:pt>
                <c:pt idx="741">
                  <c:v>42330</c:v>
                </c:pt>
                <c:pt idx="742">
                  <c:v>42331</c:v>
                </c:pt>
                <c:pt idx="743">
                  <c:v>42332</c:v>
                </c:pt>
                <c:pt idx="744">
                  <c:v>42333</c:v>
                </c:pt>
                <c:pt idx="745">
                  <c:v>42334</c:v>
                </c:pt>
                <c:pt idx="746">
                  <c:v>42335</c:v>
                </c:pt>
                <c:pt idx="747">
                  <c:v>42337</c:v>
                </c:pt>
                <c:pt idx="748">
                  <c:v>42338</c:v>
                </c:pt>
                <c:pt idx="749">
                  <c:v>42339</c:v>
                </c:pt>
                <c:pt idx="750">
                  <c:v>42340</c:v>
                </c:pt>
                <c:pt idx="751">
                  <c:v>42341</c:v>
                </c:pt>
                <c:pt idx="752">
                  <c:v>42342</c:v>
                </c:pt>
                <c:pt idx="753">
                  <c:v>42344</c:v>
                </c:pt>
                <c:pt idx="754">
                  <c:v>42345</c:v>
                </c:pt>
                <c:pt idx="755">
                  <c:v>42346</c:v>
                </c:pt>
                <c:pt idx="756">
                  <c:v>42347</c:v>
                </c:pt>
                <c:pt idx="757">
                  <c:v>42348</c:v>
                </c:pt>
                <c:pt idx="758">
                  <c:v>42349</c:v>
                </c:pt>
                <c:pt idx="759">
                  <c:v>42351</c:v>
                </c:pt>
                <c:pt idx="760">
                  <c:v>42352</c:v>
                </c:pt>
                <c:pt idx="761">
                  <c:v>42353</c:v>
                </c:pt>
                <c:pt idx="762">
                  <c:v>42354</c:v>
                </c:pt>
                <c:pt idx="763">
                  <c:v>42355</c:v>
                </c:pt>
                <c:pt idx="764">
                  <c:v>42356</c:v>
                </c:pt>
                <c:pt idx="765">
                  <c:v>42358</c:v>
                </c:pt>
                <c:pt idx="766">
                  <c:v>42359</c:v>
                </c:pt>
                <c:pt idx="767">
                  <c:v>42360</c:v>
                </c:pt>
                <c:pt idx="768">
                  <c:v>42361</c:v>
                </c:pt>
                <c:pt idx="769">
                  <c:v>42362</c:v>
                </c:pt>
                <c:pt idx="770">
                  <c:v>42363</c:v>
                </c:pt>
                <c:pt idx="771">
                  <c:v>42365</c:v>
                </c:pt>
                <c:pt idx="772">
                  <c:v>42366</c:v>
                </c:pt>
                <c:pt idx="773">
                  <c:v>42367</c:v>
                </c:pt>
                <c:pt idx="774">
                  <c:v>42368</c:v>
                </c:pt>
                <c:pt idx="775">
                  <c:v>42369</c:v>
                </c:pt>
              </c:numCache>
            </c:numRef>
          </c:cat>
          <c:val>
            <c:numRef>
              <c:f>Sheet2!$C$2:$C$777</c:f>
              <c:numCache>
                <c:formatCode>###,###,###,###,##0.000_ </c:formatCode>
                <c:ptCount val="776"/>
                <c:pt idx="0">
                  <c:v>2.665</c:v>
                </c:pt>
                <c:pt idx="1">
                  <c:v>2.7280000000000002</c:v>
                </c:pt>
                <c:pt idx="2">
                  <c:v>2.7719999999999998</c:v>
                </c:pt>
                <c:pt idx="3">
                  <c:v>3.0230000000000001</c:v>
                </c:pt>
                <c:pt idx="4">
                  <c:v>3.0430000000000001</c:v>
                </c:pt>
                <c:pt idx="5">
                  <c:v>3.0409999999999999</c:v>
                </c:pt>
                <c:pt idx="6">
                  <c:v>3.0350000000000001</c:v>
                </c:pt>
                <c:pt idx="7">
                  <c:v>3.234</c:v>
                </c:pt>
                <c:pt idx="8">
                  <c:v>3.484</c:v>
                </c:pt>
                <c:pt idx="9">
                  <c:v>3.9809999999999999</c:v>
                </c:pt>
                <c:pt idx="10">
                  <c:v>4.3380000000000001</c:v>
                </c:pt>
                <c:pt idx="11">
                  <c:v>4.6760000000000002</c:v>
                </c:pt>
                <c:pt idx="12">
                  <c:v>4.968</c:v>
                </c:pt>
                <c:pt idx="13">
                  <c:v>5.0960000000000001</c:v>
                </c:pt>
                <c:pt idx="14">
                  <c:v>5.2220000000000004</c:v>
                </c:pt>
                <c:pt idx="15">
                  <c:v>5.4189999999999996</c:v>
                </c:pt>
                <c:pt idx="16">
                  <c:v>5.4669999999999996</c:v>
                </c:pt>
                <c:pt idx="17">
                  <c:v>5.657999999999995</c:v>
                </c:pt>
                <c:pt idx="18">
                  <c:v>5.8599999999999977</c:v>
                </c:pt>
                <c:pt idx="19">
                  <c:v>5.9909999999999997</c:v>
                </c:pt>
                <c:pt idx="20">
                  <c:v>6.0839999999999996</c:v>
                </c:pt>
                <c:pt idx="21">
                  <c:v>6.2990000000000004</c:v>
                </c:pt>
                <c:pt idx="22">
                  <c:v>6.3069999999999986</c:v>
                </c:pt>
                <c:pt idx="23">
                  <c:v>6.1739999999999986</c:v>
                </c:pt>
                <c:pt idx="24">
                  <c:v>6.0339999999999998</c:v>
                </c:pt>
                <c:pt idx="25">
                  <c:v>5.9029999999999996</c:v>
                </c:pt>
                <c:pt idx="26">
                  <c:v>5.7389999999999999</c:v>
                </c:pt>
                <c:pt idx="27">
                  <c:v>5.4249999999999954</c:v>
                </c:pt>
                <c:pt idx="28">
                  <c:v>5.2789999999999999</c:v>
                </c:pt>
                <c:pt idx="29">
                  <c:v>5.1499999999999986</c:v>
                </c:pt>
                <c:pt idx="30">
                  <c:v>5.0469999999999997</c:v>
                </c:pt>
                <c:pt idx="31">
                  <c:v>4.9589999999999996</c:v>
                </c:pt>
                <c:pt idx="32">
                  <c:v>4.8839999999999986</c:v>
                </c:pt>
                <c:pt idx="33">
                  <c:v>4.7450000000000001</c:v>
                </c:pt>
                <c:pt idx="34">
                  <c:v>4.6819999999999986</c:v>
                </c:pt>
                <c:pt idx="35">
                  <c:v>4.6339999999999977</c:v>
                </c:pt>
                <c:pt idx="36">
                  <c:v>4.5819999999999999</c:v>
                </c:pt>
                <c:pt idx="37">
                  <c:v>4.5430000000000001</c:v>
                </c:pt>
                <c:pt idx="38">
                  <c:v>4.5179999999999954</c:v>
                </c:pt>
                <c:pt idx="39">
                  <c:v>4.4710000000000001</c:v>
                </c:pt>
                <c:pt idx="40">
                  <c:v>4.4470000000000001</c:v>
                </c:pt>
                <c:pt idx="41">
                  <c:v>4.4260000000000002</c:v>
                </c:pt>
                <c:pt idx="42">
                  <c:v>4.4239999999999986</c:v>
                </c:pt>
                <c:pt idx="43">
                  <c:v>4.4109999999999996</c:v>
                </c:pt>
                <c:pt idx="44">
                  <c:v>4.3969999999999976</c:v>
                </c:pt>
                <c:pt idx="45">
                  <c:v>4.3710000000000004</c:v>
                </c:pt>
                <c:pt idx="46">
                  <c:v>4.3689999999999953</c:v>
                </c:pt>
                <c:pt idx="47">
                  <c:v>4.3769999999999998</c:v>
                </c:pt>
                <c:pt idx="48">
                  <c:v>4.3919999999999986</c:v>
                </c:pt>
                <c:pt idx="49">
                  <c:v>4.4130000000000003</c:v>
                </c:pt>
                <c:pt idx="50">
                  <c:v>4.4370000000000003</c:v>
                </c:pt>
                <c:pt idx="51">
                  <c:v>4.4829999999999997</c:v>
                </c:pt>
                <c:pt idx="52">
                  <c:v>4.5030000000000001</c:v>
                </c:pt>
                <c:pt idx="53">
                  <c:v>4.5069999999999997</c:v>
                </c:pt>
                <c:pt idx="54">
                  <c:v>4.5090000000000003</c:v>
                </c:pt>
                <c:pt idx="55">
                  <c:v>4.516</c:v>
                </c:pt>
                <c:pt idx="56">
                  <c:v>4.5129999999999946</c:v>
                </c:pt>
                <c:pt idx="57">
                  <c:v>4.5110000000000001</c:v>
                </c:pt>
                <c:pt idx="58">
                  <c:v>4.5110000000000001</c:v>
                </c:pt>
                <c:pt idx="59">
                  <c:v>4.5169999999999986</c:v>
                </c:pt>
                <c:pt idx="60">
                  <c:v>4.5209999999999946</c:v>
                </c:pt>
                <c:pt idx="61">
                  <c:v>4.5229999999999952</c:v>
                </c:pt>
                <c:pt idx="62">
                  <c:v>4.5239999999999956</c:v>
                </c:pt>
                <c:pt idx="63">
                  <c:v>4.5259999999999954</c:v>
                </c:pt>
                <c:pt idx="64">
                  <c:v>4.532</c:v>
                </c:pt>
                <c:pt idx="65">
                  <c:v>4.54</c:v>
                </c:pt>
                <c:pt idx="66">
                  <c:v>4.5449999999999946</c:v>
                </c:pt>
                <c:pt idx="67">
                  <c:v>4.5460000000000003</c:v>
                </c:pt>
                <c:pt idx="68">
                  <c:v>4.548</c:v>
                </c:pt>
                <c:pt idx="69">
                  <c:v>4.5539999999999976</c:v>
                </c:pt>
                <c:pt idx="70">
                  <c:v>4.5460000000000003</c:v>
                </c:pt>
                <c:pt idx="71">
                  <c:v>4.5380000000000003</c:v>
                </c:pt>
                <c:pt idx="72">
                  <c:v>4.5279999999999951</c:v>
                </c:pt>
                <c:pt idx="73">
                  <c:v>4.5830000000000002</c:v>
                </c:pt>
                <c:pt idx="74">
                  <c:v>4.6859999999999946</c:v>
                </c:pt>
                <c:pt idx="76">
                  <c:v>4.6849999999999952</c:v>
                </c:pt>
                <c:pt idx="77">
                  <c:v>4.8289999999999953</c:v>
                </c:pt>
                <c:pt idx="78">
                  <c:v>4.84</c:v>
                </c:pt>
                <c:pt idx="79">
                  <c:v>4.8519999999999976</c:v>
                </c:pt>
                <c:pt idx="80">
                  <c:v>4.8069999999999986</c:v>
                </c:pt>
                <c:pt idx="81">
                  <c:v>4.859</c:v>
                </c:pt>
                <c:pt idx="82">
                  <c:v>4.88</c:v>
                </c:pt>
                <c:pt idx="83">
                  <c:v>4.8760000000000003</c:v>
                </c:pt>
                <c:pt idx="84">
                  <c:v>4.9790000000000001</c:v>
                </c:pt>
                <c:pt idx="85">
                  <c:v>4.9889999999999999</c:v>
                </c:pt>
                <c:pt idx="86">
                  <c:v>5.0010000000000003</c:v>
                </c:pt>
                <c:pt idx="87">
                  <c:v>4.9320000000000004</c:v>
                </c:pt>
                <c:pt idx="88">
                  <c:v>4.9560000000000004</c:v>
                </c:pt>
                <c:pt idx="89">
                  <c:v>4.9420000000000002</c:v>
                </c:pt>
                <c:pt idx="90">
                  <c:v>4.8479999999999954</c:v>
                </c:pt>
                <c:pt idx="91">
                  <c:v>4.8939999999999966</c:v>
                </c:pt>
                <c:pt idx="92">
                  <c:v>4.8219999999999956</c:v>
                </c:pt>
                <c:pt idx="93">
                  <c:v>4.7239999999999966</c:v>
                </c:pt>
                <c:pt idx="94">
                  <c:v>4.7669999999999977</c:v>
                </c:pt>
                <c:pt idx="95">
                  <c:v>4.7960000000000003</c:v>
                </c:pt>
                <c:pt idx="96">
                  <c:v>4.8969999999999976</c:v>
                </c:pt>
                <c:pt idx="97">
                  <c:v>4.9630000000000001</c:v>
                </c:pt>
                <c:pt idx="98">
                  <c:v>5.0259999999999954</c:v>
                </c:pt>
                <c:pt idx="99">
                  <c:v>5.07</c:v>
                </c:pt>
                <c:pt idx="100">
                  <c:v>4.9189999999999996</c:v>
                </c:pt>
                <c:pt idx="101">
                  <c:v>5.0060000000000002</c:v>
                </c:pt>
                <c:pt idx="102">
                  <c:v>4.992</c:v>
                </c:pt>
                <c:pt idx="103">
                  <c:v>4.9870000000000001</c:v>
                </c:pt>
                <c:pt idx="104">
                  <c:v>4.9850000000000003</c:v>
                </c:pt>
                <c:pt idx="105">
                  <c:v>4.9779999999999998</c:v>
                </c:pt>
                <c:pt idx="106">
                  <c:v>4.96</c:v>
                </c:pt>
                <c:pt idx="107">
                  <c:v>4.8890000000000002</c:v>
                </c:pt>
                <c:pt idx="108">
                  <c:v>4.899</c:v>
                </c:pt>
                <c:pt idx="109">
                  <c:v>4.8890000000000002</c:v>
                </c:pt>
                <c:pt idx="110">
                  <c:v>4.8780000000000001</c:v>
                </c:pt>
                <c:pt idx="111">
                  <c:v>4.8539999999999957</c:v>
                </c:pt>
                <c:pt idx="112">
                  <c:v>4.8879999999999946</c:v>
                </c:pt>
                <c:pt idx="113">
                  <c:v>4.8460000000000001</c:v>
                </c:pt>
                <c:pt idx="114">
                  <c:v>4.824999999999994</c:v>
                </c:pt>
                <c:pt idx="115">
                  <c:v>4.819</c:v>
                </c:pt>
                <c:pt idx="116">
                  <c:v>4.8109999999999946</c:v>
                </c:pt>
                <c:pt idx="117">
                  <c:v>4.7969999999999997</c:v>
                </c:pt>
                <c:pt idx="118">
                  <c:v>4.7430000000000003</c:v>
                </c:pt>
                <c:pt idx="119">
                  <c:v>4.7539999999999987</c:v>
                </c:pt>
                <c:pt idx="120">
                  <c:v>4.7629999999999946</c:v>
                </c:pt>
                <c:pt idx="121">
                  <c:v>4.7720000000000002</c:v>
                </c:pt>
                <c:pt idx="122">
                  <c:v>4.7809999999999997</c:v>
                </c:pt>
                <c:pt idx="123">
                  <c:v>4.8</c:v>
                </c:pt>
                <c:pt idx="124">
                  <c:v>4.824999999999994</c:v>
                </c:pt>
                <c:pt idx="125">
                  <c:v>4.827999999999995</c:v>
                </c:pt>
                <c:pt idx="126">
                  <c:v>4.8289999999999953</c:v>
                </c:pt>
                <c:pt idx="127">
                  <c:v>4.8269999999999946</c:v>
                </c:pt>
                <c:pt idx="128">
                  <c:v>4.8269999999999946</c:v>
                </c:pt>
                <c:pt idx="129">
                  <c:v>4.824999999999994</c:v>
                </c:pt>
                <c:pt idx="130">
                  <c:v>4.9379999999999997</c:v>
                </c:pt>
                <c:pt idx="131">
                  <c:v>5.0279999999999951</c:v>
                </c:pt>
                <c:pt idx="132">
                  <c:v>5.093</c:v>
                </c:pt>
                <c:pt idx="133">
                  <c:v>5.1119999999999974</c:v>
                </c:pt>
                <c:pt idx="134">
                  <c:v>5.2119999999999997</c:v>
                </c:pt>
                <c:pt idx="135">
                  <c:v>5.2350000000000003</c:v>
                </c:pt>
                <c:pt idx="136">
                  <c:v>5.1390000000000002</c:v>
                </c:pt>
                <c:pt idx="137">
                  <c:v>5.0730000000000004</c:v>
                </c:pt>
                <c:pt idx="138">
                  <c:v>5.0330000000000004</c:v>
                </c:pt>
                <c:pt idx="139">
                  <c:v>5.0410000000000004</c:v>
                </c:pt>
                <c:pt idx="140">
                  <c:v>4.9729999999999999</c:v>
                </c:pt>
                <c:pt idx="141">
                  <c:v>5.0129999999999946</c:v>
                </c:pt>
                <c:pt idx="142">
                  <c:v>5.0350000000000001</c:v>
                </c:pt>
                <c:pt idx="143">
                  <c:v>5.0569999999999986</c:v>
                </c:pt>
                <c:pt idx="144">
                  <c:v>5.0789999999999997</c:v>
                </c:pt>
                <c:pt idx="145">
                  <c:v>5.1019999999999994</c:v>
                </c:pt>
                <c:pt idx="146">
                  <c:v>5.1229999999999949</c:v>
                </c:pt>
                <c:pt idx="148">
                  <c:v>5.1679999999999939</c:v>
                </c:pt>
                <c:pt idx="149">
                  <c:v>5.1819999999999986</c:v>
                </c:pt>
                <c:pt idx="150">
                  <c:v>5.1939999999999946</c:v>
                </c:pt>
                <c:pt idx="151">
                  <c:v>5.2069999999999999</c:v>
                </c:pt>
                <c:pt idx="152">
                  <c:v>5.2160000000000002</c:v>
                </c:pt>
                <c:pt idx="153">
                  <c:v>5.2140000000000004</c:v>
                </c:pt>
                <c:pt idx="154">
                  <c:v>5.2069999999999999</c:v>
                </c:pt>
                <c:pt idx="155">
                  <c:v>5.226</c:v>
                </c:pt>
                <c:pt idx="156">
                  <c:v>5.2409999999999997</c:v>
                </c:pt>
                <c:pt idx="157">
                  <c:v>5.2530000000000001</c:v>
                </c:pt>
                <c:pt idx="158">
                  <c:v>5.2880000000000003</c:v>
                </c:pt>
                <c:pt idx="159">
                  <c:v>5.324999999999994</c:v>
                </c:pt>
                <c:pt idx="160">
                  <c:v>5.4</c:v>
                </c:pt>
                <c:pt idx="161">
                  <c:v>5.43</c:v>
                </c:pt>
                <c:pt idx="162">
                  <c:v>5.444</c:v>
                </c:pt>
                <c:pt idx="163">
                  <c:v>5.4630000000000001</c:v>
                </c:pt>
                <c:pt idx="164">
                  <c:v>5.4909999999999997</c:v>
                </c:pt>
                <c:pt idx="165">
                  <c:v>5.5239999999999956</c:v>
                </c:pt>
                <c:pt idx="166">
                  <c:v>5.5919999999999996</c:v>
                </c:pt>
                <c:pt idx="167">
                  <c:v>5.67</c:v>
                </c:pt>
                <c:pt idx="168">
                  <c:v>5.7569999999999997</c:v>
                </c:pt>
                <c:pt idx="169">
                  <c:v>5.8929999999999954</c:v>
                </c:pt>
                <c:pt idx="170">
                  <c:v>6.032</c:v>
                </c:pt>
                <c:pt idx="171">
                  <c:v>6.1919999999999966</c:v>
                </c:pt>
                <c:pt idx="172">
                  <c:v>6.5</c:v>
                </c:pt>
                <c:pt idx="173">
                  <c:v>6.5979999999999954</c:v>
                </c:pt>
                <c:pt idx="174">
                  <c:v>6.6959999999999953</c:v>
                </c:pt>
                <c:pt idx="175">
                  <c:v>6.74</c:v>
                </c:pt>
                <c:pt idx="176">
                  <c:v>6.7629999999999946</c:v>
                </c:pt>
                <c:pt idx="177">
                  <c:v>6.7530000000000001</c:v>
                </c:pt>
                <c:pt idx="178">
                  <c:v>6.7380000000000004</c:v>
                </c:pt>
                <c:pt idx="179">
                  <c:v>6.726</c:v>
                </c:pt>
                <c:pt idx="180">
                  <c:v>6.7380000000000004</c:v>
                </c:pt>
                <c:pt idx="181">
                  <c:v>6.7610000000000001</c:v>
                </c:pt>
                <c:pt idx="182">
                  <c:v>6.7370000000000001</c:v>
                </c:pt>
                <c:pt idx="183">
                  <c:v>6.7380000000000004</c:v>
                </c:pt>
                <c:pt idx="184">
                  <c:v>6.7030000000000003</c:v>
                </c:pt>
                <c:pt idx="185">
                  <c:v>6.694999999999995</c:v>
                </c:pt>
                <c:pt idx="186">
                  <c:v>6.67</c:v>
                </c:pt>
                <c:pt idx="187">
                  <c:v>6.617999999999995</c:v>
                </c:pt>
                <c:pt idx="188">
                  <c:v>6.5949999999999953</c:v>
                </c:pt>
                <c:pt idx="189">
                  <c:v>6.5539999999999976</c:v>
                </c:pt>
                <c:pt idx="190">
                  <c:v>6.48</c:v>
                </c:pt>
                <c:pt idx="191">
                  <c:v>6.46</c:v>
                </c:pt>
                <c:pt idx="192">
                  <c:v>6.423</c:v>
                </c:pt>
                <c:pt idx="193">
                  <c:v>6.3979999999999952</c:v>
                </c:pt>
                <c:pt idx="194">
                  <c:v>6.4130000000000003</c:v>
                </c:pt>
                <c:pt idx="195">
                  <c:v>6.4219999999999997</c:v>
                </c:pt>
                <c:pt idx="196">
                  <c:v>6.4340000000000002</c:v>
                </c:pt>
                <c:pt idx="197">
                  <c:v>6.4160000000000004</c:v>
                </c:pt>
                <c:pt idx="198">
                  <c:v>6.4409999999999998</c:v>
                </c:pt>
                <c:pt idx="199">
                  <c:v>6.4320000000000004</c:v>
                </c:pt>
                <c:pt idx="200">
                  <c:v>6.3599999999999977</c:v>
                </c:pt>
                <c:pt idx="202">
                  <c:v>6.0439999999999996</c:v>
                </c:pt>
                <c:pt idx="203">
                  <c:v>6.0960000000000001</c:v>
                </c:pt>
                <c:pt idx="204">
                  <c:v>6.1739999999999986</c:v>
                </c:pt>
                <c:pt idx="205">
                  <c:v>6.2249999999999952</c:v>
                </c:pt>
                <c:pt idx="206">
                  <c:v>6.2629999999999946</c:v>
                </c:pt>
                <c:pt idx="207">
                  <c:v>6.298</c:v>
                </c:pt>
                <c:pt idx="208">
                  <c:v>6.3339999999999996</c:v>
                </c:pt>
                <c:pt idx="209">
                  <c:v>6.3109999999999946</c:v>
                </c:pt>
                <c:pt idx="210">
                  <c:v>6.2859999999999996</c:v>
                </c:pt>
                <c:pt idx="211">
                  <c:v>6.2590000000000003</c:v>
                </c:pt>
                <c:pt idx="212">
                  <c:v>6.2409999999999997</c:v>
                </c:pt>
                <c:pt idx="213">
                  <c:v>6.22</c:v>
                </c:pt>
                <c:pt idx="214">
                  <c:v>6.2009999999999996</c:v>
                </c:pt>
                <c:pt idx="215">
                  <c:v>6.1829999999999954</c:v>
                </c:pt>
                <c:pt idx="216">
                  <c:v>6.1469999999999976</c:v>
                </c:pt>
                <c:pt idx="217">
                  <c:v>6.1360000000000001</c:v>
                </c:pt>
                <c:pt idx="218">
                  <c:v>6.1139999999999954</c:v>
                </c:pt>
                <c:pt idx="219">
                  <c:v>6.093</c:v>
                </c:pt>
                <c:pt idx="220">
                  <c:v>6.0619999999999976</c:v>
                </c:pt>
                <c:pt idx="221">
                  <c:v>6.0309999999999997</c:v>
                </c:pt>
                <c:pt idx="222">
                  <c:v>5.9710000000000001</c:v>
                </c:pt>
                <c:pt idx="223">
                  <c:v>5.9279999999999946</c:v>
                </c:pt>
                <c:pt idx="224">
                  <c:v>5.8949999999999951</c:v>
                </c:pt>
                <c:pt idx="225">
                  <c:v>5.8639999999999954</c:v>
                </c:pt>
                <c:pt idx="226">
                  <c:v>5.835</c:v>
                </c:pt>
                <c:pt idx="227">
                  <c:v>5.8049999999999953</c:v>
                </c:pt>
                <c:pt idx="228">
                  <c:v>5.7439999999999998</c:v>
                </c:pt>
                <c:pt idx="229">
                  <c:v>5.7160000000000002</c:v>
                </c:pt>
                <c:pt idx="230">
                  <c:v>5.6899999999999986</c:v>
                </c:pt>
                <c:pt idx="231">
                  <c:v>5.6679999999999939</c:v>
                </c:pt>
                <c:pt idx="232">
                  <c:v>5.6469999999999967</c:v>
                </c:pt>
                <c:pt idx="233">
                  <c:v>5.6279999999999939</c:v>
                </c:pt>
                <c:pt idx="234">
                  <c:v>5.5919999999999996</c:v>
                </c:pt>
                <c:pt idx="235">
                  <c:v>5.5679999999999952</c:v>
                </c:pt>
                <c:pt idx="236">
                  <c:v>5.5549999999999953</c:v>
                </c:pt>
                <c:pt idx="237">
                  <c:v>5.5439999999999996</c:v>
                </c:pt>
                <c:pt idx="238">
                  <c:v>5.5380000000000003</c:v>
                </c:pt>
                <c:pt idx="239">
                  <c:v>5.5350000000000001</c:v>
                </c:pt>
                <c:pt idx="240">
                  <c:v>5.516</c:v>
                </c:pt>
                <c:pt idx="241">
                  <c:v>5.5110000000000001</c:v>
                </c:pt>
                <c:pt idx="242">
                  <c:v>5.4960000000000004</c:v>
                </c:pt>
                <c:pt idx="243">
                  <c:v>5.4720000000000004</c:v>
                </c:pt>
                <c:pt idx="244">
                  <c:v>5.4450000000000003</c:v>
                </c:pt>
                <c:pt idx="245">
                  <c:v>5.415</c:v>
                </c:pt>
                <c:pt idx="246">
                  <c:v>5.3739999999999997</c:v>
                </c:pt>
                <c:pt idx="247">
                  <c:v>5.3609999999999953</c:v>
                </c:pt>
                <c:pt idx="248">
                  <c:v>5.3559999999999954</c:v>
                </c:pt>
                <c:pt idx="249">
                  <c:v>5.3569999999999967</c:v>
                </c:pt>
                <c:pt idx="250">
                  <c:v>5.3619999999999957</c:v>
                </c:pt>
                <c:pt idx="251">
                  <c:v>5.3669999999999947</c:v>
                </c:pt>
                <c:pt idx="252">
                  <c:v>5.3730000000000002</c:v>
                </c:pt>
                <c:pt idx="253">
                  <c:v>5.367999999999995</c:v>
                </c:pt>
                <c:pt idx="254">
                  <c:v>5.3599999999999977</c:v>
                </c:pt>
                <c:pt idx="255">
                  <c:v>5.351</c:v>
                </c:pt>
                <c:pt idx="256">
                  <c:v>5.3390000000000004</c:v>
                </c:pt>
                <c:pt idx="257">
                  <c:v>5.3149999999999951</c:v>
                </c:pt>
                <c:pt idx="258">
                  <c:v>5.3</c:v>
                </c:pt>
                <c:pt idx="259">
                  <c:v>5.2869999999999999</c:v>
                </c:pt>
                <c:pt idx="260">
                  <c:v>5.2720000000000002</c:v>
                </c:pt>
                <c:pt idx="261">
                  <c:v>5.2530000000000001</c:v>
                </c:pt>
                <c:pt idx="262">
                  <c:v>5.2389999999999999</c:v>
                </c:pt>
                <c:pt idx="263">
                  <c:v>5.21</c:v>
                </c:pt>
                <c:pt idx="264">
                  <c:v>5.2</c:v>
                </c:pt>
                <c:pt idx="265">
                  <c:v>5.1879999999999953</c:v>
                </c:pt>
                <c:pt idx="266">
                  <c:v>5.1710000000000003</c:v>
                </c:pt>
                <c:pt idx="267">
                  <c:v>5.1519999999999966</c:v>
                </c:pt>
                <c:pt idx="268">
                  <c:v>5.13</c:v>
                </c:pt>
                <c:pt idx="269">
                  <c:v>5.0869999999999997</c:v>
                </c:pt>
                <c:pt idx="270">
                  <c:v>5.0669999999999966</c:v>
                </c:pt>
                <c:pt idx="271">
                  <c:v>5.048</c:v>
                </c:pt>
                <c:pt idx="272">
                  <c:v>5.04</c:v>
                </c:pt>
                <c:pt idx="273">
                  <c:v>5.0289999999999946</c:v>
                </c:pt>
                <c:pt idx="274">
                  <c:v>5.0219999999999976</c:v>
                </c:pt>
                <c:pt idx="275">
                  <c:v>5.0419999999999998</c:v>
                </c:pt>
                <c:pt idx="276">
                  <c:v>5.0359999999999996</c:v>
                </c:pt>
                <c:pt idx="277">
                  <c:v>5.0279999999999951</c:v>
                </c:pt>
                <c:pt idx="278">
                  <c:v>5.0219999999999976</c:v>
                </c:pt>
                <c:pt idx="279">
                  <c:v>4.9850000000000003</c:v>
                </c:pt>
                <c:pt idx="280">
                  <c:v>4.9690000000000003</c:v>
                </c:pt>
                <c:pt idx="281">
                  <c:v>4.9239999999999986</c:v>
                </c:pt>
                <c:pt idx="282">
                  <c:v>4.9020000000000001</c:v>
                </c:pt>
                <c:pt idx="283">
                  <c:v>4.8879999999999946</c:v>
                </c:pt>
                <c:pt idx="284">
                  <c:v>4.8739999999999997</c:v>
                </c:pt>
                <c:pt idx="285">
                  <c:v>4.8419999999999996</c:v>
                </c:pt>
                <c:pt idx="286">
                  <c:v>4.8529999999999953</c:v>
                </c:pt>
                <c:pt idx="287">
                  <c:v>4.867999999999995</c:v>
                </c:pt>
                <c:pt idx="288">
                  <c:v>4.8819999999999997</c:v>
                </c:pt>
                <c:pt idx="289">
                  <c:v>4.8769999999999998</c:v>
                </c:pt>
                <c:pt idx="290">
                  <c:v>4.8669999999999947</c:v>
                </c:pt>
                <c:pt idx="291">
                  <c:v>4.8310000000000004</c:v>
                </c:pt>
                <c:pt idx="292">
                  <c:v>4.7880000000000003</c:v>
                </c:pt>
                <c:pt idx="293">
                  <c:v>4.7460000000000004</c:v>
                </c:pt>
                <c:pt idx="294">
                  <c:v>4.7119999999999997</c:v>
                </c:pt>
                <c:pt idx="295">
                  <c:v>4.6839999999999966</c:v>
                </c:pt>
                <c:pt idx="296">
                  <c:v>4.6829999999999954</c:v>
                </c:pt>
                <c:pt idx="298">
                  <c:v>4.6599999999999957</c:v>
                </c:pt>
                <c:pt idx="299">
                  <c:v>4.6559999999999953</c:v>
                </c:pt>
                <c:pt idx="300">
                  <c:v>4.6569999999999947</c:v>
                </c:pt>
                <c:pt idx="301">
                  <c:v>4.681</c:v>
                </c:pt>
                <c:pt idx="302">
                  <c:v>4.6639999999999953</c:v>
                </c:pt>
                <c:pt idx="303">
                  <c:v>4.6749999999999954</c:v>
                </c:pt>
                <c:pt idx="304">
                  <c:v>4.6979999999999951</c:v>
                </c:pt>
                <c:pt idx="305">
                  <c:v>4.7060000000000004</c:v>
                </c:pt>
                <c:pt idx="306">
                  <c:v>4.7119999999999997</c:v>
                </c:pt>
                <c:pt idx="307">
                  <c:v>4.702</c:v>
                </c:pt>
                <c:pt idx="308">
                  <c:v>4.7190000000000003</c:v>
                </c:pt>
                <c:pt idx="309">
                  <c:v>4.742</c:v>
                </c:pt>
                <c:pt idx="310">
                  <c:v>4.734</c:v>
                </c:pt>
                <c:pt idx="311">
                  <c:v>4.7239999999999966</c:v>
                </c:pt>
                <c:pt idx="312">
                  <c:v>4.6969999999999956</c:v>
                </c:pt>
                <c:pt idx="313">
                  <c:v>4.6599999999999957</c:v>
                </c:pt>
                <c:pt idx="314">
                  <c:v>4.6339999999999977</c:v>
                </c:pt>
                <c:pt idx="315">
                  <c:v>4.5350000000000001</c:v>
                </c:pt>
                <c:pt idx="316">
                  <c:v>4.4939999999999998</c:v>
                </c:pt>
                <c:pt idx="317">
                  <c:v>4.4630000000000001</c:v>
                </c:pt>
                <c:pt idx="318">
                  <c:v>4.4160000000000004</c:v>
                </c:pt>
                <c:pt idx="319">
                  <c:v>4.375</c:v>
                </c:pt>
                <c:pt idx="320">
                  <c:v>4.3239999999999954</c:v>
                </c:pt>
                <c:pt idx="321">
                  <c:v>4.2669999999999986</c:v>
                </c:pt>
                <c:pt idx="322">
                  <c:v>4.2350000000000003</c:v>
                </c:pt>
                <c:pt idx="323">
                  <c:v>4.2210000000000001</c:v>
                </c:pt>
                <c:pt idx="324">
                  <c:v>4.2210000000000001</c:v>
                </c:pt>
                <c:pt idx="325">
                  <c:v>4.2300000000000004</c:v>
                </c:pt>
                <c:pt idx="326">
                  <c:v>4.22</c:v>
                </c:pt>
                <c:pt idx="327">
                  <c:v>4.2160000000000002</c:v>
                </c:pt>
                <c:pt idx="328">
                  <c:v>4.2149999999999954</c:v>
                </c:pt>
                <c:pt idx="329">
                  <c:v>4.1909999999999954</c:v>
                </c:pt>
                <c:pt idx="330">
                  <c:v>4.18</c:v>
                </c:pt>
                <c:pt idx="331">
                  <c:v>4.1779999999999946</c:v>
                </c:pt>
                <c:pt idx="332">
                  <c:v>4.1769999999999996</c:v>
                </c:pt>
                <c:pt idx="333">
                  <c:v>4.1689999999999952</c:v>
                </c:pt>
                <c:pt idx="334">
                  <c:v>4.1719999999999997</c:v>
                </c:pt>
                <c:pt idx="335">
                  <c:v>4.181</c:v>
                </c:pt>
                <c:pt idx="336">
                  <c:v>4.1919999999999966</c:v>
                </c:pt>
                <c:pt idx="337">
                  <c:v>4.1829999999999954</c:v>
                </c:pt>
                <c:pt idx="338">
                  <c:v>4.1839999999999966</c:v>
                </c:pt>
                <c:pt idx="339">
                  <c:v>4.1839999999999966</c:v>
                </c:pt>
                <c:pt idx="340">
                  <c:v>4.1919999999999966</c:v>
                </c:pt>
                <c:pt idx="341">
                  <c:v>4.1819999999999986</c:v>
                </c:pt>
                <c:pt idx="342">
                  <c:v>4.1760000000000002</c:v>
                </c:pt>
                <c:pt idx="343">
                  <c:v>4.181</c:v>
                </c:pt>
                <c:pt idx="344">
                  <c:v>4.1819999999999986</c:v>
                </c:pt>
                <c:pt idx="345">
                  <c:v>4.1919999999999966</c:v>
                </c:pt>
                <c:pt idx="346">
                  <c:v>4.1839999999999966</c:v>
                </c:pt>
                <c:pt idx="347">
                  <c:v>4.1829999999999954</c:v>
                </c:pt>
                <c:pt idx="348">
                  <c:v>4.1779999999999946</c:v>
                </c:pt>
                <c:pt idx="349">
                  <c:v>4.1739999999999986</c:v>
                </c:pt>
                <c:pt idx="350">
                  <c:v>4.1710000000000003</c:v>
                </c:pt>
                <c:pt idx="351">
                  <c:v>4.165999999999995</c:v>
                </c:pt>
                <c:pt idx="352">
                  <c:v>4.1760000000000002</c:v>
                </c:pt>
                <c:pt idx="353">
                  <c:v>4.1779999999999946</c:v>
                </c:pt>
                <c:pt idx="354">
                  <c:v>4.1779999999999946</c:v>
                </c:pt>
                <c:pt idx="355">
                  <c:v>4.18</c:v>
                </c:pt>
                <c:pt idx="356">
                  <c:v>4.1919999999999966</c:v>
                </c:pt>
                <c:pt idx="357">
                  <c:v>4.1909999999999954</c:v>
                </c:pt>
                <c:pt idx="358">
                  <c:v>4.1790000000000003</c:v>
                </c:pt>
                <c:pt idx="359">
                  <c:v>4.1760000000000002</c:v>
                </c:pt>
                <c:pt idx="360">
                  <c:v>4.1749999999999954</c:v>
                </c:pt>
                <c:pt idx="361">
                  <c:v>4.1849999999999952</c:v>
                </c:pt>
                <c:pt idx="362">
                  <c:v>4.17</c:v>
                </c:pt>
                <c:pt idx="363">
                  <c:v>4.1649999999999938</c:v>
                </c:pt>
                <c:pt idx="364">
                  <c:v>4.1589999999999954</c:v>
                </c:pt>
                <c:pt idx="365">
                  <c:v>4.1629999999999949</c:v>
                </c:pt>
                <c:pt idx="366">
                  <c:v>4.1689999999999952</c:v>
                </c:pt>
                <c:pt idx="367">
                  <c:v>4.157999999999995</c:v>
                </c:pt>
                <c:pt idx="368">
                  <c:v>4.1529999999999951</c:v>
                </c:pt>
                <c:pt idx="369">
                  <c:v>4.1390000000000002</c:v>
                </c:pt>
                <c:pt idx="370">
                  <c:v>4.1390000000000002</c:v>
                </c:pt>
                <c:pt idx="371">
                  <c:v>4.1310000000000002</c:v>
                </c:pt>
                <c:pt idx="372">
                  <c:v>4.1229999999999949</c:v>
                </c:pt>
                <c:pt idx="373">
                  <c:v>4.1159999999999952</c:v>
                </c:pt>
                <c:pt idx="374">
                  <c:v>4.1229999999999949</c:v>
                </c:pt>
                <c:pt idx="375">
                  <c:v>4.1459999999999946</c:v>
                </c:pt>
                <c:pt idx="376">
                  <c:v>4.1499999999999986</c:v>
                </c:pt>
                <c:pt idx="377">
                  <c:v>4.149</c:v>
                </c:pt>
                <c:pt idx="378">
                  <c:v>4.1529999999999951</c:v>
                </c:pt>
                <c:pt idx="379">
                  <c:v>4.1639999999999953</c:v>
                </c:pt>
                <c:pt idx="380">
                  <c:v>4.165999999999995</c:v>
                </c:pt>
                <c:pt idx="381">
                  <c:v>4.1429999999999954</c:v>
                </c:pt>
                <c:pt idx="382">
                  <c:v>4.1549999999999949</c:v>
                </c:pt>
                <c:pt idx="383">
                  <c:v>4.1539999999999946</c:v>
                </c:pt>
                <c:pt idx="384">
                  <c:v>4.157999999999995</c:v>
                </c:pt>
                <c:pt idx="385">
                  <c:v>4.1499999999999986</c:v>
                </c:pt>
                <c:pt idx="386">
                  <c:v>4.1479999999999952</c:v>
                </c:pt>
                <c:pt idx="387">
                  <c:v>4.1509999999999954</c:v>
                </c:pt>
                <c:pt idx="388">
                  <c:v>4.1539999999999946</c:v>
                </c:pt>
                <c:pt idx="389">
                  <c:v>4.1509999999999954</c:v>
                </c:pt>
                <c:pt idx="390">
                  <c:v>4.165999999999995</c:v>
                </c:pt>
                <c:pt idx="391">
                  <c:v>4.165999999999995</c:v>
                </c:pt>
                <c:pt idx="392">
                  <c:v>4.165999999999995</c:v>
                </c:pt>
                <c:pt idx="393">
                  <c:v>4.165999999999995</c:v>
                </c:pt>
                <c:pt idx="394">
                  <c:v>4.181</c:v>
                </c:pt>
                <c:pt idx="395">
                  <c:v>4.1829999999999954</c:v>
                </c:pt>
                <c:pt idx="396">
                  <c:v>4.18</c:v>
                </c:pt>
                <c:pt idx="397">
                  <c:v>4.218</c:v>
                </c:pt>
                <c:pt idx="398">
                  <c:v>4.2300000000000004</c:v>
                </c:pt>
                <c:pt idx="399">
                  <c:v>4.2239999999999984</c:v>
                </c:pt>
                <c:pt idx="400">
                  <c:v>4.2</c:v>
                </c:pt>
                <c:pt idx="401">
                  <c:v>4.0890000000000004</c:v>
                </c:pt>
                <c:pt idx="402">
                  <c:v>4.0970000000000004</c:v>
                </c:pt>
                <c:pt idx="403">
                  <c:v>4.1019999999999994</c:v>
                </c:pt>
                <c:pt idx="404">
                  <c:v>4.1079999999999952</c:v>
                </c:pt>
                <c:pt idx="405">
                  <c:v>4.1249999999999938</c:v>
                </c:pt>
                <c:pt idx="406">
                  <c:v>4.1679999999999939</c:v>
                </c:pt>
                <c:pt idx="407">
                  <c:v>4.1879999999999953</c:v>
                </c:pt>
                <c:pt idx="408">
                  <c:v>4.1890000000000001</c:v>
                </c:pt>
                <c:pt idx="409">
                  <c:v>4.202</c:v>
                </c:pt>
                <c:pt idx="410">
                  <c:v>4.2009999999999996</c:v>
                </c:pt>
                <c:pt idx="411">
                  <c:v>4.1849999999999952</c:v>
                </c:pt>
                <c:pt idx="412">
                  <c:v>4.1549999999999949</c:v>
                </c:pt>
                <c:pt idx="413">
                  <c:v>4.1509999999999954</c:v>
                </c:pt>
                <c:pt idx="414">
                  <c:v>4.1399999999999997</c:v>
                </c:pt>
                <c:pt idx="415">
                  <c:v>4.1449999999999951</c:v>
                </c:pt>
                <c:pt idx="416">
                  <c:v>4.1390000000000002</c:v>
                </c:pt>
                <c:pt idx="417">
                  <c:v>4.125999999999995</c:v>
                </c:pt>
                <c:pt idx="418">
                  <c:v>4.1159999999999952</c:v>
                </c:pt>
                <c:pt idx="419">
                  <c:v>4.1449999999999951</c:v>
                </c:pt>
                <c:pt idx="420">
                  <c:v>4.149</c:v>
                </c:pt>
                <c:pt idx="421">
                  <c:v>4.1189999999999953</c:v>
                </c:pt>
                <c:pt idx="422">
                  <c:v>4.1119999999999974</c:v>
                </c:pt>
                <c:pt idx="423">
                  <c:v>4.1050000000000004</c:v>
                </c:pt>
                <c:pt idx="424">
                  <c:v>4.0979999999999954</c:v>
                </c:pt>
                <c:pt idx="425">
                  <c:v>4.056</c:v>
                </c:pt>
                <c:pt idx="426">
                  <c:v>4.056</c:v>
                </c:pt>
                <c:pt idx="427">
                  <c:v>4.0569999999999986</c:v>
                </c:pt>
                <c:pt idx="428">
                  <c:v>4.0659999999999954</c:v>
                </c:pt>
                <c:pt idx="429">
                  <c:v>4.07</c:v>
                </c:pt>
                <c:pt idx="430">
                  <c:v>4.0739999999999998</c:v>
                </c:pt>
                <c:pt idx="431">
                  <c:v>4.1029999999999953</c:v>
                </c:pt>
                <c:pt idx="432">
                  <c:v>4.1989999999999954</c:v>
                </c:pt>
                <c:pt idx="433">
                  <c:v>4.2560000000000002</c:v>
                </c:pt>
                <c:pt idx="434">
                  <c:v>4.2480000000000002</c:v>
                </c:pt>
                <c:pt idx="435">
                  <c:v>4.2380000000000004</c:v>
                </c:pt>
                <c:pt idx="436">
                  <c:v>4.2430000000000003</c:v>
                </c:pt>
                <c:pt idx="437">
                  <c:v>4.2249999999999952</c:v>
                </c:pt>
                <c:pt idx="438">
                  <c:v>4.117999999999995</c:v>
                </c:pt>
                <c:pt idx="439">
                  <c:v>4.0679999999999952</c:v>
                </c:pt>
                <c:pt idx="440">
                  <c:v>4.0780000000000003</c:v>
                </c:pt>
                <c:pt idx="442">
                  <c:v>4.077</c:v>
                </c:pt>
                <c:pt idx="443">
                  <c:v>4.0720000000000001</c:v>
                </c:pt>
                <c:pt idx="444">
                  <c:v>4.0469999999999997</c:v>
                </c:pt>
                <c:pt idx="445">
                  <c:v>4.0449999999999946</c:v>
                </c:pt>
                <c:pt idx="446">
                  <c:v>4.0339999999999998</c:v>
                </c:pt>
                <c:pt idx="447">
                  <c:v>4.0549999999999953</c:v>
                </c:pt>
                <c:pt idx="448">
                  <c:v>4.0590000000000002</c:v>
                </c:pt>
                <c:pt idx="449">
                  <c:v>4.0679999999999952</c:v>
                </c:pt>
                <c:pt idx="450">
                  <c:v>4.09</c:v>
                </c:pt>
                <c:pt idx="451">
                  <c:v>4.0890000000000004</c:v>
                </c:pt>
                <c:pt idx="452">
                  <c:v>4.0990000000000002</c:v>
                </c:pt>
                <c:pt idx="453">
                  <c:v>4.0720000000000001</c:v>
                </c:pt>
                <c:pt idx="454">
                  <c:v>4.0609999999999946</c:v>
                </c:pt>
                <c:pt idx="455">
                  <c:v>4.0369999999999999</c:v>
                </c:pt>
                <c:pt idx="456">
                  <c:v>4.0110000000000001</c:v>
                </c:pt>
                <c:pt idx="457">
                  <c:v>4.0359999999999996</c:v>
                </c:pt>
                <c:pt idx="458">
                  <c:v>4.0289999999999946</c:v>
                </c:pt>
                <c:pt idx="459">
                  <c:v>4.024999999999995</c:v>
                </c:pt>
                <c:pt idx="460">
                  <c:v>4.0369999999999999</c:v>
                </c:pt>
                <c:pt idx="461">
                  <c:v>4.0569999999999986</c:v>
                </c:pt>
                <c:pt idx="462">
                  <c:v>4.0869999999999997</c:v>
                </c:pt>
                <c:pt idx="463">
                  <c:v>4.0830000000000002</c:v>
                </c:pt>
                <c:pt idx="464">
                  <c:v>4.1269999999999953</c:v>
                </c:pt>
                <c:pt idx="465">
                  <c:v>4.2249999999999952</c:v>
                </c:pt>
                <c:pt idx="466">
                  <c:v>4.4189999999999996</c:v>
                </c:pt>
                <c:pt idx="467">
                  <c:v>4.5179999999999954</c:v>
                </c:pt>
                <c:pt idx="468">
                  <c:v>4.633</c:v>
                </c:pt>
                <c:pt idx="469">
                  <c:v>4.76</c:v>
                </c:pt>
                <c:pt idx="470">
                  <c:v>4.8490000000000002</c:v>
                </c:pt>
                <c:pt idx="471">
                  <c:v>4.851</c:v>
                </c:pt>
                <c:pt idx="472">
                  <c:v>4.8519999999999976</c:v>
                </c:pt>
                <c:pt idx="473">
                  <c:v>4.8449999999999953</c:v>
                </c:pt>
                <c:pt idx="474">
                  <c:v>4.7910000000000004</c:v>
                </c:pt>
                <c:pt idx="475">
                  <c:v>4.7239999999999966</c:v>
                </c:pt>
                <c:pt idx="476">
                  <c:v>4.6029999999999953</c:v>
                </c:pt>
                <c:pt idx="477">
                  <c:v>4.5759999999999996</c:v>
                </c:pt>
                <c:pt idx="478">
                  <c:v>4.5639999999999956</c:v>
                </c:pt>
                <c:pt idx="479">
                  <c:v>4.5510000000000002</c:v>
                </c:pt>
                <c:pt idx="480">
                  <c:v>4.5309999999999997</c:v>
                </c:pt>
                <c:pt idx="481">
                  <c:v>4.5049999999999946</c:v>
                </c:pt>
                <c:pt idx="482">
                  <c:v>4.4509999999999996</c:v>
                </c:pt>
                <c:pt idx="483">
                  <c:v>4.4989999999999997</c:v>
                </c:pt>
                <c:pt idx="484">
                  <c:v>4.4809999999999999</c:v>
                </c:pt>
                <c:pt idx="485">
                  <c:v>4.4749999999999996</c:v>
                </c:pt>
                <c:pt idx="486">
                  <c:v>4.4649999999999954</c:v>
                </c:pt>
                <c:pt idx="487">
                  <c:v>4.4829999999999997</c:v>
                </c:pt>
                <c:pt idx="488">
                  <c:v>4.47</c:v>
                </c:pt>
                <c:pt idx="489">
                  <c:v>4.3959999999999946</c:v>
                </c:pt>
                <c:pt idx="490">
                  <c:v>4.3979999999999952</c:v>
                </c:pt>
                <c:pt idx="491">
                  <c:v>4.383</c:v>
                </c:pt>
                <c:pt idx="492">
                  <c:v>4.3860000000000001</c:v>
                </c:pt>
                <c:pt idx="493">
                  <c:v>4.3710000000000004</c:v>
                </c:pt>
                <c:pt idx="494">
                  <c:v>4.3730000000000002</c:v>
                </c:pt>
                <c:pt idx="495">
                  <c:v>4.37</c:v>
                </c:pt>
                <c:pt idx="496">
                  <c:v>4.3559999999999954</c:v>
                </c:pt>
                <c:pt idx="497">
                  <c:v>4.3689999999999953</c:v>
                </c:pt>
                <c:pt idx="498">
                  <c:v>4.3609999999999953</c:v>
                </c:pt>
                <c:pt idx="499">
                  <c:v>4.351</c:v>
                </c:pt>
                <c:pt idx="501">
                  <c:v>4.3479999999999954</c:v>
                </c:pt>
                <c:pt idx="502">
                  <c:v>4.3419999999999996</c:v>
                </c:pt>
                <c:pt idx="503">
                  <c:v>4.3419999999999996</c:v>
                </c:pt>
                <c:pt idx="504">
                  <c:v>4.3289999999999953</c:v>
                </c:pt>
                <c:pt idx="505">
                  <c:v>4.3259999999999952</c:v>
                </c:pt>
                <c:pt idx="506">
                  <c:v>4.319</c:v>
                </c:pt>
                <c:pt idx="507">
                  <c:v>4.306</c:v>
                </c:pt>
                <c:pt idx="508">
                  <c:v>4.3139999999999956</c:v>
                </c:pt>
                <c:pt idx="509">
                  <c:v>4.3219999999999956</c:v>
                </c:pt>
                <c:pt idx="510">
                  <c:v>4.3479999999999954</c:v>
                </c:pt>
                <c:pt idx="511">
                  <c:v>4.375</c:v>
                </c:pt>
                <c:pt idx="512">
                  <c:v>4.4210000000000003</c:v>
                </c:pt>
                <c:pt idx="513">
                  <c:v>4.4809999999999999</c:v>
                </c:pt>
                <c:pt idx="514">
                  <c:v>4.4939999999999998</c:v>
                </c:pt>
                <c:pt idx="515">
                  <c:v>4.5129999999999946</c:v>
                </c:pt>
                <c:pt idx="516">
                  <c:v>4.4050000000000002</c:v>
                </c:pt>
                <c:pt idx="517">
                  <c:v>4.4450000000000003</c:v>
                </c:pt>
                <c:pt idx="518">
                  <c:v>4.4539999999999997</c:v>
                </c:pt>
                <c:pt idx="519">
                  <c:v>4.4690000000000003</c:v>
                </c:pt>
                <c:pt idx="521">
                  <c:v>4.4770000000000003</c:v>
                </c:pt>
                <c:pt idx="522">
                  <c:v>4.4800000000000004</c:v>
                </c:pt>
                <c:pt idx="523">
                  <c:v>4.4859999999999998</c:v>
                </c:pt>
                <c:pt idx="524">
                  <c:v>4.4560000000000004</c:v>
                </c:pt>
                <c:pt idx="525">
                  <c:v>4.45</c:v>
                </c:pt>
                <c:pt idx="526">
                  <c:v>4.4530000000000003</c:v>
                </c:pt>
                <c:pt idx="527">
                  <c:v>4.4539999999999997</c:v>
                </c:pt>
                <c:pt idx="528">
                  <c:v>4.46</c:v>
                </c:pt>
                <c:pt idx="529">
                  <c:v>4.4809999999999999</c:v>
                </c:pt>
                <c:pt idx="530">
                  <c:v>4.4829999999999997</c:v>
                </c:pt>
                <c:pt idx="531">
                  <c:v>4.4889999999999999</c:v>
                </c:pt>
                <c:pt idx="532">
                  <c:v>4.4800000000000004</c:v>
                </c:pt>
                <c:pt idx="533">
                  <c:v>4.4820000000000002</c:v>
                </c:pt>
                <c:pt idx="534">
                  <c:v>4.5209999999999946</c:v>
                </c:pt>
                <c:pt idx="535">
                  <c:v>4.5019999999999998</c:v>
                </c:pt>
                <c:pt idx="536">
                  <c:v>4.524999999999995</c:v>
                </c:pt>
                <c:pt idx="537">
                  <c:v>4.5380000000000003</c:v>
                </c:pt>
                <c:pt idx="538">
                  <c:v>4.5419999999999998</c:v>
                </c:pt>
                <c:pt idx="539">
                  <c:v>4.54</c:v>
                </c:pt>
                <c:pt idx="540">
                  <c:v>4.5219999999999976</c:v>
                </c:pt>
                <c:pt idx="541">
                  <c:v>4.5190000000000001</c:v>
                </c:pt>
                <c:pt idx="542">
                  <c:v>4.5219999999999976</c:v>
                </c:pt>
                <c:pt idx="543">
                  <c:v>4.5030000000000001</c:v>
                </c:pt>
                <c:pt idx="544">
                  <c:v>4.4989999999999997</c:v>
                </c:pt>
                <c:pt idx="545">
                  <c:v>4.4989999999999997</c:v>
                </c:pt>
                <c:pt idx="546">
                  <c:v>4.4870000000000001</c:v>
                </c:pt>
                <c:pt idx="547">
                  <c:v>4.4930000000000003</c:v>
                </c:pt>
                <c:pt idx="548">
                  <c:v>4.4580000000000002</c:v>
                </c:pt>
                <c:pt idx="549">
                  <c:v>4.4569999999999999</c:v>
                </c:pt>
                <c:pt idx="550">
                  <c:v>4.45</c:v>
                </c:pt>
                <c:pt idx="551">
                  <c:v>4.4279999999999946</c:v>
                </c:pt>
                <c:pt idx="552">
                  <c:v>4.4329999999999998</c:v>
                </c:pt>
                <c:pt idx="553">
                  <c:v>4.4329999999999998</c:v>
                </c:pt>
                <c:pt idx="554">
                  <c:v>4.452</c:v>
                </c:pt>
                <c:pt idx="555">
                  <c:v>4.468</c:v>
                </c:pt>
                <c:pt idx="556">
                  <c:v>4.4660000000000002</c:v>
                </c:pt>
                <c:pt idx="557">
                  <c:v>4.5019999999999998</c:v>
                </c:pt>
                <c:pt idx="558">
                  <c:v>4.492</c:v>
                </c:pt>
                <c:pt idx="559">
                  <c:v>4.4909999999999997</c:v>
                </c:pt>
                <c:pt idx="560">
                  <c:v>4.4809999999999999</c:v>
                </c:pt>
                <c:pt idx="561">
                  <c:v>4.4619999999999997</c:v>
                </c:pt>
                <c:pt idx="562">
                  <c:v>4.4619999999999997</c:v>
                </c:pt>
                <c:pt idx="563">
                  <c:v>4.4489999999999998</c:v>
                </c:pt>
                <c:pt idx="564">
                  <c:v>4.4409999999999998</c:v>
                </c:pt>
                <c:pt idx="565">
                  <c:v>4.4359999999999999</c:v>
                </c:pt>
                <c:pt idx="566">
                  <c:v>4.4109999999999996</c:v>
                </c:pt>
                <c:pt idx="567">
                  <c:v>4.3879999999999946</c:v>
                </c:pt>
                <c:pt idx="568">
                  <c:v>4.3439999999999976</c:v>
                </c:pt>
                <c:pt idx="569">
                  <c:v>4.3109999999999946</c:v>
                </c:pt>
                <c:pt idx="570">
                  <c:v>4.2990000000000004</c:v>
                </c:pt>
                <c:pt idx="571">
                  <c:v>4.2880000000000003</c:v>
                </c:pt>
                <c:pt idx="572">
                  <c:v>4.2750000000000004</c:v>
                </c:pt>
                <c:pt idx="573">
                  <c:v>4.266</c:v>
                </c:pt>
                <c:pt idx="574">
                  <c:v>4.2530000000000001</c:v>
                </c:pt>
                <c:pt idx="575">
                  <c:v>4.2409999999999997</c:v>
                </c:pt>
                <c:pt idx="576">
                  <c:v>4.2359999999999998</c:v>
                </c:pt>
                <c:pt idx="577">
                  <c:v>4.2409999999999997</c:v>
                </c:pt>
                <c:pt idx="578">
                  <c:v>4.2530000000000001</c:v>
                </c:pt>
                <c:pt idx="579">
                  <c:v>4.26</c:v>
                </c:pt>
                <c:pt idx="580">
                  <c:v>4.2729999999999997</c:v>
                </c:pt>
                <c:pt idx="581">
                  <c:v>4.2839999999999998</c:v>
                </c:pt>
                <c:pt idx="582">
                  <c:v>4.2880000000000003</c:v>
                </c:pt>
                <c:pt idx="583">
                  <c:v>4.2960000000000003</c:v>
                </c:pt>
                <c:pt idx="584">
                  <c:v>4.2789999999999999</c:v>
                </c:pt>
                <c:pt idx="585">
                  <c:v>4.2519999999999998</c:v>
                </c:pt>
                <c:pt idx="586">
                  <c:v>4.2380000000000004</c:v>
                </c:pt>
                <c:pt idx="587">
                  <c:v>4.2389999999999999</c:v>
                </c:pt>
                <c:pt idx="588">
                  <c:v>4.2290000000000001</c:v>
                </c:pt>
                <c:pt idx="589">
                  <c:v>4.202</c:v>
                </c:pt>
                <c:pt idx="590">
                  <c:v>4.2039999999999997</c:v>
                </c:pt>
                <c:pt idx="591">
                  <c:v>4.1849999999999952</c:v>
                </c:pt>
                <c:pt idx="592">
                  <c:v>4.165999999999995</c:v>
                </c:pt>
                <c:pt idx="593">
                  <c:v>4.1319999999999997</c:v>
                </c:pt>
                <c:pt idx="594">
                  <c:v>4.0999999999999996</c:v>
                </c:pt>
                <c:pt idx="595">
                  <c:v>4.08</c:v>
                </c:pt>
                <c:pt idx="596">
                  <c:v>4.0469999999999997</c:v>
                </c:pt>
                <c:pt idx="597">
                  <c:v>4.0199999999999996</c:v>
                </c:pt>
                <c:pt idx="598">
                  <c:v>4.0129999999999946</c:v>
                </c:pt>
                <c:pt idx="599">
                  <c:v>4.0129999999999946</c:v>
                </c:pt>
                <c:pt idx="600">
                  <c:v>4.016</c:v>
                </c:pt>
                <c:pt idx="601">
                  <c:v>4.0239999999999956</c:v>
                </c:pt>
                <c:pt idx="602">
                  <c:v>4.0330000000000004</c:v>
                </c:pt>
                <c:pt idx="603">
                  <c:v>4.0469999999999997</c:v>
                </c:pt>
                <c:pt idx="604">
                  <c:v>4.0439999999999996</c:v>
                </c:pt>
                <c:pt idx="605">
                  <c:v>4.0460000000000003</c:v>
                </c:pt>
                <c:pt idx="606">
                  <c:v>4.0449999999999946</c:v>
                </c:pt>
                <c:pt idx="607">
                  <c:v>4.0430000000000001</c:v>
                </c:pt>
                <c:pt idx="608">
                  <c:v>4.0339999999999998</c:v>
                </c:pt>
                <c:pt idx="609">
                  <c:v>4.0179999999999954</c:v>
                </c:pt>
                <c:pt idx="610">
                  <c:v>4.0060000000000002</c:v>
                </c:pt>
                <c:pt idx="611">
                  <c:v>3.98</c:v>
                </c:pt>
                <c:pt idx="612">
                  <c:v>3.9460000000000002</c:v>
                </c:pt>
                <c:pt idx="613">
                  <c:v>3.8980000000000001</c:v>
                </c:pt>
                <c:pt idx="614">
                  <c:v>3.8530000000000002</c:v>
                </c:pt>
                <c:pt idx="615">
                  <c:v>3.714</c:v>
                </c:pt>
                <c:pt idx="616">
                  <c:v>3.673</c:v>
                </c:pt>
                <c:pt idx="617">
                  <c:v>3.641</c:v>
                </c:pt>
                <c:pt idx="618">
                  <c:v>3.6259999999999999</c:v>
                </c:pt>
                <c:pt idx="619">
                  <c:v>3.5950000000000002</c:v>
                </c:pt>
                <c:pt idx="620">
                  <c:v>3.5409999999999999</c:v>
                </c:pt>
                <c:pt idx="621">
                  <c:v>3.51</c:v>
                </c:pt>
                <c:pt idx="622">
                  <c:v>3.4830000000000001</c:v>
                </c:pt>
                <c:pt idx="623">
                  <c:v>3.4609999999999999</c:v>
                </c:pt>
                <c:pt idx="624">
                  <c:v>3.4350000000000001</c:v>
                </c:pt>
                <c:pt idx="625">
                  <c:v>3.4260000000000002</c:v>
                </c:pt>
                <c:pt idx="626">
                  <c:v>3.4060000000000001</c:v>
                </c:pt>
                <c:pt idx="627">
                  <c:v>3.4049999999999998</c:v>
                </c:pt>
                <c:pt idx="628">
                  <c:v>3.4089999999999998</c:v>
                </c:pt>
                <c:pt idx="629">
                  <c:v>3.415</c:v>
                </c:pt>
                <c:pt idx="630">
                  <c:v>3.42</c:v>
                </c:pt>
                <c:pt idx="631">
                  <c:v>3.42</c:v>
                </c:pt>
                <c:pt idx="632">
                  <c:v>3.4209999999999998</c:v>
                </c:pt>
                <c:pt idx="633">
                  <c:v>3.431</c:v>
                </c:pt>
                <c:pt idx="634">
                  <c:v>3.4689999999999999</c:v>
                </c:pt>
                <c:pt idx="635">
                  <c:v>3.4670000000000001</c:v>
                </c:pt>
                <c:pt idx="636">
                  <c:v>3.4620000000000002</c:v>
                </c:pt>
                <c:pt idx="637">
                  <c:v>3.4559999999999991</c:v>
                </c:pt>
                <c:pt idx="638">
                  <c:v>3.444</c:v>
                </c:pt>
                <c:pt idx="639">
                  <c:v>3.4350000000000001</c:v>
                </c:pt>
                <c:pt idx="640">
                  <c:v>3.3809999999999998</c:v>
                </c:pt>
                <c:pt idx="641">
                  <c:v>3.3650000000000002</c:v>
                </c:pt>
                <c:pt idx="642">
                  <c:v>3.3519999999999981</c:v>
                </c:pt>
                <c:pt idx="643">
                  <c:v>3.3589999999999991</c:v>
                </c:pt>
                <c:pt idx="644">
                  <c:v>3.3389999999999991</c:v>
                </c:pt>
                <c:pt idx="645">
                  <c:v>3.3330000000000002</c:v>
                </c:pt>
                <c:pt idx="646">
                  <c:v>3.323</c:v>
                </c:pt>
                <c:pt idx="647">
                  <c:v>3.3180000000000001</c:v>
                </c:pt>
                <c:pt idx="648">
                  <c:v>3.3069999999999991</c:v>
                </c:pt>
                <c:pt idx="649">
                  <c:v>3.282</c:v>
                </c:pt>
                <c:pt idx="650">
                  <c:v>3.2629999999999999</c:v>
                </c:pt>
                <c:pt idx="651">
                  <c:v>3.2360000000000002</c:v>
                </c:pt>
                <c:pt idx="652">
                  <c:v>3.2349999999999999</c:v>
                </c:pt>
                <c:pt idx="653">
                  <c:v>3.238</c:v>
                </c:pt>
                <c:pt idx="654">
                  <c:v>3.2370000000000001</c:v>
                </c:pt>
                <c:pt idx="655">
                  <c:v>3.2320000000000002</c:v>
                </c:pt>
                <c:pt idx="656">
                  <c:v>3.2240000000000002</c:v>
                </c:pt>
                <c:pt idx="657">
                  <c:v>3.238</c:v>
                </c:pt>
                <c:pt idx="658">
                  <c:v>3.2490000000000001</c:v>
                </c:pt>
                <c:pt idx="659">
                  <c:v>3.24</c:v>
                </c:pt>
                <c:pt idx="660">
                  <c:v>3.2410000000000001</c:v>
                </c:pt>
                <c:pt idx="661">
                  <c:v>3.2480000000000002</c:v>
                </c:pt>
                <c:pt idx="662">
                  <c:v>3.2480000000000002</c:v>
                </c:pt>
                <c:pt idx="663">
                  <c:v>3.274</c:v>
                </c:pt>
                <c:pt idx="664">
                  <c:v>3.2559999999999998</c:v>
                </c:pt>
                <c:pt idx="665">
                  <c:v>3.2530000000000001</c:v>
                </c:pt>
                <c:pt idx="666">
                  <c:v>3.246</c:v>
                </c:pt>
                <c:pt idx="667">
                  <c:v>3.2370000000000001</c:v>
                </c:pt>
                <c:pt idx="668">
                  <c:v>3.23</c:v>
                </c:pt>
                <c:pt idx="669">
                  <c:v>3.2080000000000002</c:v>
                </c:pt>
                <c:pt idx="670">
                  <c:v>3.2480000000000002</c:v>
                </c:pt>
                <c:pt idx="671">
                  <c:v>3.26</c:v>
                </c:pt>
                <c:pt idx="672">
                  <c:v>3.262</c:v>
                </c:pt>
                <c:pt idx="673">
                  <c:v>3.2589999999999999</c:v>
                </c:pt>
                <c:pt idx="674">
                  <c:v>3.254</c:v>
                </c:pt>
                <c:pt idx="675">
                  <c:v>3.238</c:v>
                </c:pt>
                <c:pt idx="676">
                  <c:v>3.1920000000000002</c:v>
                </c:pt>
                <c:pt idx="677">
                  <c:v>3.177</c:v>
                </c:pt>
                <c:pt idx="678">
                  <c:v>3.258</c:v>
                </c:pt>
                <c:pt idx="679">
                  <c:v>3.2490000000000001</c:v>
                </c:pt>
                <c:pt idx="680">
                  <c:v>3.2610000000000001</c:v>
                </c:pt>
                <c:pt idx="681">
                  <c:v>3.2730000000000001</c:v>
                </c:pt>
                <c:pt idx="682">
                  <c:v>3.2839999999999998</c:v>
                </c:pt>
                <c:pt idx="683">
                  <c:v>3.3010000000000002</c:v>
                </c:pt>
                <c:pt idx="684">
                  <c:v>3.2170000000000001</c:v>
                </c:pt>
                <c:pt idx="685">
                  <c:v>3.246</c:v>
                </c:pt>
                <c:pt idx="686">
                  <c:v>3.2320000000000002</c:v>
                </c:pt>
                <c:pt idx="687">
                  <c:v>3.2120000000000002</c:v>
                </c:pt>
                <c:pt idx="688">
                  <c:v>3.214</c:v>
                </c:pt>
                <c:pt idx="689">
                  <c:v>3.1920000000000002</c:v>
                </c:pt>
                <c:pt idx="690">
                  <c:v>3.18</c:v>
                </c:pt>
                <c:pt idx="691">
                  <c:v>3.1619999999999999</c:v>
                </c:pt>
                <c:pt idx="692">
                  <c:v>3.1619999999999999</c:v>
                </c:pt>
                <c:pt idx="693">
                  <c:v>3.1469999999999998</c:v>
                </c:pt>
                <c:pt idx="694">
                  <c:v>3.117</c:v>
                </c:pt>
                <c:pt idx="695">
                  <c:v>3.1080000000000001</c:v>
                </c:pt>
                <c:pt idx="696">
                  <c:v>3.0670000000000002</c:v>
                </c:pt>
                <c:pt idx="697">
                  <c:v>3.0459999999999998</c:v>
                </c:pt>
                <c:pt idx="698">
                  <c:v>3.016999999999999</c:v>
                </c:pt>
                <c:pt idx="699">
                  <c:v>2.9990000000000001</c:v>
                </c:pt>
                <c:pt idx="700">
                  <c:v>2.9580000000000002</c:v>
                </c:pt>
                <c:pt idx="701">
                  <c:v>3.133</c:v>
                </c:pt>
                <c:pt idx="702">
                  <c:v>3.1280000000000001</c:v>
                </c:pt>
                <c:pt idx="703">
                  <c:v>3.17</c:v>
                </c:pt>
                <c:pt idx="704">
                  <c:v>3.1709999999999998</c:v>
                </c:pt>
                <c:pt idx="705">
                  <c:v>3.1709999999999998</c:v>
                </c:pt>
                <c:pt idx="706">
                  <c:v>3.1869999999999998</c:v>
                </c:pt>
                <c:pt idx="707">
                  <c:v>3.0110000000000001</c:v>
                </c:pt>
                <c:pt idx="708">
                  <c:v>3.0179999999999998</c:v>
                </c:pt>
                <c:pt idx="709">
                  <c:v>2.976999999999999</c:v>
                </c:pt>
                <c:pt idx="710">
                  <c:v>3.028</c:v>
                </c:pt>
                <c:pt idx="711">
                  <c:v>3.0289999999999999</c:v>
                </c:pt>
                <c:pt idx="712">
                  <c:v>3.0249999999999999</c:v>
                </c:pt>
                <c:pt idx="713">
                  <c:v>3.0209999999999999</c:v>
                </c:pt>
                <c:pt idx="714">
                  <c:v>3.024</c:v>
                </c:pt>
                <c:pt idx="716">
                  <c:v>3.0110000000000001</c:v>
                </c:pt>
                <c:pt idx="717">
                  <c:v>2.9569999999999981</c:v>
                </c:pt>
                <c:pt idx="718">
                  <c:v>2.944</c:v>
                </c:pt>
                <c:pt idx="719">
                  <c:v>2.9289999999999998</c:v>
                </c:pt>
                <c:pt idx="720">
                  <c:v>2.93</c:v>
                </c:pt>
                <c:pt idx="721">
                  <c:v>2.9089999999999998</c:v>
                </c:pt>
                <c:pt idx="723">
                  <c:v>2.887</c:v>
                </c:pt>
                <c:pt idx="724">
                  <c:v>2.879</c:v>
                </c:pt>
                <c:pt idx="725">
                  <c:v>2.899</c:v>
                </c:pt>
                <c:pt idx="726">
                  <c:v>2.895</c:v>
                </c:pt>
                <c:pt idx="727">
                  <c:v>2.8809999999999998</c:v>
                </c:pt>
                <c:pt idx="728">
                  <c:v>2.887</c:v>
                </c:pt>
                <c:pt idx="729">
                  <c:v>2.883</c:v>
                </c:pt>
                <c:pt idx="730">
                  <c:v>2.899</c:v>
                </c:pt>
                <c:pt idx="731">
                  <c:v>2.915</c:v>
                </c:pt>
                <c:pt idx="732">
                  <c:v>2.8940000000000001</c:v>
                </c:pt>
                <c:pt idx="733">
                  <c:v>2.8860000000000001</c:v>
                </c:pt>
                <c:pt idx="734">
                  <c:v>2.871</c:v>
                </c:pt>
                <c:pt idx="735">
                  <c:v>2.8490000000000002</c:v>
                </c:pt>
                <c:pt idx="736">
                  <c:v>2.8279999999999998</c:v>
                </c:pt>
                <c:pt idx="737">
                  <c:v>2.79</c:v>
                </c:pt>
                <c:pt idx="738">
                  <c:v>2.8050000000000002</c:v>
                </c:pt>
                <c:pt idx="739">
                  <c:v>2.8250000000000002</c:v>
                </c:pt>
                <c:pt idx="740">
                  <c:v>2.8220000000000001</c:v>
                </c:pt>
                <c:pt idx="741">
                  <c:v>2.8159999999999981</c:v>
                </c:pt>
                <c:pt idx="742">
                  <c:v>2.8130000000000002</c:v>
                </c:pt>
                <c:pt idx="743">
                  <c:v>2.798</c:v>
                </c:pt>
                <c:pt idx="744">
                  <c:v>2.778</c:v>
                </c:pt>
                <c:pt idx="745">
                  <c:v>2.7559999999999998</c:v>
                </c:pt>
                <c:pt idx="746">
                  <c:v>2.7559999999999998</c:v>
                </c:pt>
                <c:pt idx="747">
                  <c:v>2.7549999999999999</c:v>
                </c:pt>
                <c:pt idx="748">
                  <c:v>2.738</c:v>
                </c:pt>
                <c:pt idx="749">
                  <c:v>2.7330000000000001</c:v>
                </c:pt>
                <c:pt idx="750">
                  <c:v>2.76</c:v>
                </c:pt>
                <c:pt idx="751">
                  <c:v>2.76</c:v>
                </c:pt>
                <c:pt idx="752">
                  <c:v>2.7559999999999998</c:v>
                </c:pt>
                <c:pt idx="753">
                  <c:v>2.7549999999999999</c:v>
                </c:pt>
                <c:pt idx="754">
                  <c:v>2.7789999999999999</c:v>
                </c:pt>
                <c:pt idx="755">
                  <c:v>2.7810000000000001</c:v>
                </c:pt>
                <c:pt idx="756">
                  <c:v>2.7589999999999999</c:v>
                </c:pt>
                <c:pt idx="757">
                  <c:v>2.7530000000000001</c:v>
                </c:pt>
                <c:pt idx="758">
                  <c:v>2.754</c:v>
                </c:pt>
                <c:pt idx="759">
                  <c:v>2.7559999999999998</c:v>
                </c:pt>
                <c:pt idx="760">
                  <c:v>2.8050000000000002</c:v>
                </c:pt>
                <c:pt idx="761">
                  <c:v>2.8050000000000002</c:v>
                </c:pt>
                <c:pt idx="762">
                  <c:v>2.8</c:v>
                </c:pt>
                <c:pt idx="763">
                  <c:v>2.802</c:v>
                </c:pt>
                <c:pt idx="764">
                  <c:v>2.798</c:v>
                </c:pt>
                <c:pt idx="765">
                  <c:v>2.7930000000000001</c:v>
                </c:pt>
                <c:pt idx="766">
                  <c:v>2.726</c:v>
                </c:pt>
                <c:pt idx="767">
                  <c:v>2.72</c:v>
                </c:pt>
                <c:pt idx="768">
                  <c:v>2.714</c:v>
                </c:pt>
                <c:pt idx="769">
                  <c:v>2.7069999999999999</c:v>
                </c:pt>
                <c:pt idx="770">
                  <c:v>2.7050000000000001</c:v>
                </c:pt>
                <c:pt idx="771">
                  <c:v>2.702</c:v>
                </c:pt>
                <c:pt idx="772">
                  <c:v>2.6989999999999998</c:v>
                </c:pt>
                <c:pt idx="773">
                  <c:v>2.7149999999999999</c:v>
                </c:pt>
                <c:pt idx="774">
                  <c:v>2.7130000000000001</c:v>
                </c:pt>
                <c:pt idx="775">
                  <c:v>2.7029999999999998</c:v>
                </c:pt>
              </c:numCache>
            </c:numRef>
          </c:val>
          <c:smooth val="0"/>
          <c:extLst>
            <c:ext xmlns:c16="http://schemas.microsoft.com/office/drawing/2014/chart" uri="{C3380CC4-5D6E-409C-BE32-E72D297353CC}">
              <c16:uniqueId val="{00000001-8A09-4D27-9626-9A16A7E12A2C}"/>
            </c:ext>
          </c:extLst>
        </c:ser>
        <c:ser>
          <c:idx val="2"/>
          <c:order val="2"/>
          <c:tx>
            <c:strRef>
              <c:f>Sheet2!$D$1</c:f>
              <c:strCache>
                <c:ptCount val="1"/>
                <c:pt idx="0">
                  <c:v>current deposit</c:v>
                </c:pt>
              </c:strCache>
            </c:strRef>
          </c:tx>
          <c:spPr>
            <a:ln w="28575" cap="rnd">
              <a:solidFill>
                <a:schemeClr val="accent3"/>
              </a:solidFill>
              <a:round/>
            </a:ln>
            <a:effectLst/>
          </c:spPr>
          <c:marker>
            <c:symbol val="none"/>
          </c:marker>
          <c:cat>
            <c:numRef>
              <c:f>Sheet2!$A$2:$A$777</c:f>
              <c:numCache>
                <c:formatCode>yyyy\-mm\-dd;@</c:formatCode>
                <c:ptCount val="776"/>
                <c:pt idx="0">
                  <c:v>41427</c:v>
                </c:pt>
                <c:pt idx="1">
                  <c:v>41428</c:v>
                </c:pt>
                <c:pt idx="2">
                  <c:v>41429</c:v>
                </c:pt>
                <c:pt idx="3">
                  <c:v>41430</c:v>
                </c:pt>
                <c:pt idx="4">
                  <c:v>41431</c:v>
                </c:pt>
                <c:pt idx="5">
                  <c:v>41432</c:v>
                </c:pt>
                <c:pt idx="6">
                  <c:v>41437</c:v>
                </c:pt>
                <c:pt idx="7">
                  <c:v>41438</c:v>
                </c:pt>
                <c:pt idx="8">
                  <c:v>41439</c:v>
                </c:pt>
                <c:pt idx="9">
                  <c:v>41441</c:v>
                </c:pt>
                <c:pt idx="10">
                  <c:v>41442</c:v>
                </c:pt>
                <c:pt idx="11">
                  <c:v>41443</c:v>
                </c:pt>
                <c:pt idx="12">
                  <c:v>41444</c:v>
                </c:pt>
                <c:pt idx="13">
                  <c:v>41445</c:v>
                </c:pt>
                <c:pt idx="14">
                  <c:v>41446</c:v>
                </c:pt>
                <c:pt idx="15">
                  <c:v>41448</c:v>
                </c:pt>
                <c:pt idx="16">
                  <c:v>41449</c:v>
                </c:pt>
                <c:pt idx="17">
                  <c:v>41450</c:v>
                </c:pt>
                <c:pt idx="18">
                  <c:v>41451</c:v>
                </c:pt>
                <c:pt idx="19">
                  <c:v>41452</c:v>
                </c:pt>
                <c:pt idx="20">
                  <c:v>41453</c:v>
                </c:pt>
                <c:pt idx="21">
                  <c:v>41455</c:v>
                </c:pt>
                <c:pt idx="22">
                  <c:v>41456</c:v>
                </c:pt>
                <c:pt idx="23">
                  <c:v>41457</c:v>
                </c:pt>
                <c:pt idx="24">
                  <c:v>41458</c:v>
                </c:pt>
                <c:pt idx="25">
                  <c:v>41459</c:v>
                </c:pt>
                <c:pt idx="26">
                  <c:v>41460</c:v>
                </c:pt>
                <c:pt idx="27">
                  <c:v>41462</c:v>
                </c:pt>
                <c:pt idx="28">
                  <c:v>41463</c:v>
                </c:pt>
                <c:pt idx="29">
                  <c:v>41464</c:v>
                </c:pt>
                <c:pt idx="30">
                  <c:v>41465</c:v>
                </c:pt>
                <c:pt idx="31">
                  <c:v>41466</c:v>
                </c:pt>
                <c:pt idx="32">
                  <c:v>41467</c:v>
                </c:pt>
                <c:pt idx="33">
                  <c:v>41469</c:v>
                </c:pt>
                <c:pt idx="34">
                  <c:v>41470</c:v>
                </c:pt>
                <c:pt idx="35">
                  <c:v>41471</c:v>
                </c:pt>
                <c:pt idx="36">
                  <c:v>41472</c:v>
                </c:pt>
                <c:pt idx="37">
                  <c:v>41473</c:v>
                </c:pt>
                <c:pt idx="38">
                  <c:v>41474</c:v>
                </c:pt>
                <c:pt idx="39">
                  <c:v>41476</c:v>
                </c:pt>
                <c:pt idx="40">
                  <c:v>41477</c:v>
                </c:pt>
                <c:pt idx="41">
                  <c:v>41478</c:v>
                </c:pt>
                <c:pt idx="42">
                  <c:v>41479</c:v>
                </c:pt>
                <c:pt idx="43">
                  <c:v>41480</c:v>
                </c:pt>
                <c:pt idx="44">
                  <c:v>41481</c:v>
                </c:pt>
                <c:pt idx="45">
                  <c:v>41483</c:v>
                </c:pt>
                <c:pt idx="46">
                  <c:v>41484</c:v>
                </c:pt>
                <c:pt idx="47">
                  <c:v>41485</c:v>
                </c:pt>
                <c:pt idx="48">
                  <c:v>41486</c:v>
                </c:pt>
                <c:pt idx="49">
                  <c:v>41487</c:v>
                </c:pt>
                <c:pt idx="50">
                  <c:v>41488</c:v>
                </c:pt>
                <c:pt idx="51">
                  <c:v>41490</c:v>
                </c:pt>
                <c:pt idx="52">
                  <c:v>41491</c:v>
                </c:pt>
                <c:pt idx="53">
                  <c:v>41492</c:v>
                </c:pt>
                <c:pt idx="54">
                  <c:v>41493</c:v>
                </c:pt>
                <c:pt idx="55">
                  <c:v>41494</c:v>
                </c:pt>
                <c:pt idx="56">
                  <c:v>41495</c:v>
                </c:pt>
                <c:pt idx="57">
                  <c:v>41497</c:v>
                </c:pt>
                <c:pt idx="58">
                  <c:v>41498</c:v>
                </c:pt>
                <c:pt idx="59">
                  <c:v>41499</c:v>
                </c:pt>
                <c:pt idx="60">
                  <c:v>41500</c:v>
                </c:pt>
                <c:pt idx="61">
                  <c:v>41501</c:v>
                </c:pt>
                <c:pt idx="62">
                  <c:v>41502</c:v>
                </c:pt>
                <c:pt idx="63">
                  <c:v>41504</c:v>
                </c:pt>
                <c:pt idx="64">
                  <c:v>41505</c:v>
                </c:pt>
                <c:pt idx="65">
                  <c:v>41506</c:v>
                </c:pt>
                <c:pt idx="66">
                  <c:v>41507</c:v>
                </c:pt>
                <c:pt idx="67">
                  <c:v>41508</c:v>
                </c:pt>
                <c:pt idx="68">
                  <c:v>41509</c:v>
                </c:pt>
                <c:pt idx="69">
                  <c:v>41511</c:v>
                </c:pt>
                <c:pt idx="70">
                  <c:v>41512</c:v>
                </c:pt>
                <c:pt idx="71">
                  <c:v>41513</c:v>
                </c:pt>
                <c:pt idx="72">
                  <c:v>41514</c:v>
                </c:pt>
                <c:pt idx="73">
                  <c:v>41515</c:v>
                </c:pt>
                <c:pt idx="74">
                  <c:v>41516</c:v>
                </c:pt>
                <c:pt idx="75">
                  <c:v>41517</c:v>
                </c:pt>
                <c:pt idx="76">
                  <c:v>41518</c:v>
                </c:pt>
                <c:pt idx="77">
                  <c:v>41519</c:v>
                </c:pt>
                <c:pt idx="78">
                  <c:v>41520</c:v>
                </c:pt>
                <c:pt idx="79">
                  <c:v>41521</c:v>
                </c:pt>
                <c:pt idx="80">
                  <c:v>41522</c:v>
                </c:pt>
                <c:pt idx="81">
                  <c:v>41523</c:v>
                </c:pt>
                <c:pt idx="82">
                  <c:v>41525</c:v>
                </c:pt>
                <c:pt idx="83">
                  <c:v>41526</c:v>
                </c:pt>
                <c:pt idx="84">
                  <c:v>41527</c:v>
                </c:pt>
                <c:pt idx="85">
                  <c:v>41528</c:v>
                </c:pt>
                <c:pt idx="86">
                  <c:v>41529</c:v>
                </c:pt>
                <c:pt idx="87">
                  <c:v>41530</c:v>
                </c:pt>
                <c:pt idx="88">
                  <c:v>41532</c:v>
                </c:pt>
                <c:pt idx="89">
                  <c:v>41533</c:v>
                </c:pt>
                <c:pt idx="90">
                  <c:v>41534</c:v>
                </c:pt>
                <c:pt idx="91">
                  <c:v>41535</c:v>
                </c:pt>
                <c:pt idx="92">
                  <c:v>41539</c:v>
                </c:pt>
                <c:pt idx="93">
                  <c:v>41540</c:v>
                </c:pt>
                <c:pt idx="94">
                  <c:v>41541</c:v>
                </c:pt>
                <c:pt idx="95">
                  <c:v>41542</c:v>
                </c:pt>
                <c:pt idx="96">
                  <c:v>41543</c:v>
                </c:pt>
                <c:pt idx="97">
                  <c:v>41544</c:v>
                </c:pt>
                <c:pt idx="98">
                  <c:v>41546</c:v>
                </c:pt>
                <c:pt idx="99">
                  <c:v>41547</c:v>
                </c:pt>
                <c:pt idx="100">
                  <c:v>41554</c:v>
                </c:pt>
                <c:pt idx="101">
                  <c:v>41555</c:v>
                </c:pt>
                <c:pt idx="102">
                  <c:v>41556</c:v>
                </c:pt>
                <c:pt idx="103">
                  <c:v>41557</c:v>
                </c:pt>
                <c:pt idx="104">
                  <c:v>41558</c:v>
                </c:pt>
                <c:pt idx="105">
                  <c:v>41560</c:v>
                </c:pt>
                <c:pt idx="106">
                  <c:v>41561</c:v>
                </c:pt>
                <c:pt idx="107">
                  <c:v>41562</c:v>
                </c:pt>
                <c:pt idx="108">
                  <c:v>41563</c:v>
                </c:pt>
                <c:pt idx="109">
                  <c:v>41564</c:v>
                </c:pt>
                <c:pt idx="110">
                  <c:v>41565</c:v>
                </c:pt>
                <c:pt idx="111">
                  <c:v>41567</c:v>
                </c:pt>
                <c:pt idx="112">
                  <c:v>41568</c:v>
                </c:pt>
                <c:pt idx="113">
                  <c:v>41569</c:v>
                </c:pt>
                <c:pt idx="114">
                  <c:v>41570</c:v>
                </c:pt>
                <c:pt idx="115">
                  <c:v>41571</c:v>
                </c:pt>
                <c:pt idx="116">
                  <c:v>41572</c:v>
                </c:pt>
                <c:pt idx="117">
                  <c:v>41574</c:v>
                </c:pt>
                <c:pt idx="118">
                  <c:v>41575</c:v>
                </c:pt>
                <c:pt idx="119">
                  <c:v>41576</c:v>
                </c:pt>
                <c:pt idx="120">
                  <c:v>41577</c:v>
                </c:pt>
                <c:pt idx="121">
                  <c:v>41578</c:v>
                </c:pt>
                <c:pt idx="122">
                  <c:v>41579</c:v>
                </c:pt>
                <c:pt idx="123">
                  <c:v>41581</c:v>
                </c:pt>
                <c:pt idx="124">
                  <c:v>41582</c:v>
                </c:pt>
                <c:pt idx="125">
                  <c:v>41583</c:v>
                </c:pt>
                <c:pt idx="126">
                  <c:v>41584</c:v>
                </c:pt>
                <c:pt idx="127">
                  <c:v>41585</c:v>
                </c:pt>
                <c:pt idx="128">
                  <c:v>41586</c:v>
                </c:pt>
                <c:pt idx="129">
                  <c:v>41588</c:v>
                </c:pt>
                <c:pt idx="130">
                  <c:v>41589</c:v>
                </c:pt>
                <c:pt idx="131">
                  <c:v>41590</c:v>
                </c:pt>
                <c:pt idx="132">
                  <c:v>41591</c:v>
                </c:pt>
                <c:pt idx="133">
                  <c:v>41592</c:v>
                </c:pt>
                <c:pt idx="134">
                  <c:v>41593</c:v>
                </c:pt>
                <c:pt idx="135">
                  <c:v>41595</c:v>
                </c:pt>
                <c:pt idx="136">
                  <c:v>41596</c:v>
                </c:pt>
                <c:pt idx="137">
                  <c:v>41597</c:v>
                </c:pt>
                <c:pt idx="138">
                  <c:v>41598</c:v>
                </c:pt>
                <c:pt idx="139">
                  <c:v>41599</c:v>
                </c:pt>
                <c:pt idx="140">
                  <c:v>41600</c:v>
                </c:pt>
                <c:pt idx="141">
                  <c:v>41602</c:v>
                </c:pt>
                <c:pt idx="142">
                  <c:v>41603</c:v>
                </c:pt>
                <c:pt idx="143">
                  <c:v>41604</c:v>
                </c:pt>
                <c:pt idx="144">
                  <c:v>41605</c:v>
                </c:pt>
                <c:pt idx="145">
                  <c:v>41606</c:v>
                </c:pt>
                <c:pt idx="146">
                  <c:v>41607</c:v>
                </c:pt>
                <c:pt idx="147">
                  <c:v>41608</c:v>
                </c:pt>
                <c:pt idx="148">
                  <c:v>41609</c:v>
                </c:pt>
                <c:pt idx="149">
                  <c:v>41610</c:v>
                </c:pt>
                <c:pt idx="150">
                  <c:v>41611</c:v>
                </c:pt>
                <c:pt idx="151">
                  <c:v>41612</c:v>
                </c:pt>
                <c:pt idx="152">
                  <c:v>41613</c:v>
                </c:pt>
                <c:pt idx="153">
                  <c:v>41614</c:v>
                </c:pt>
                <c:pt idx="154">
                  <c:v>41616</c:v>
                </c:pt>
                <c:pt idx="155">
                  <c:v>41617</c:v>
                </c:pt>
                <c:pt idx="156">
                  <c:v>41618</c:v>
                </c:pt>
                <c:pt idx="157">
                  <c:v>41619</c:v>
                </c:pt>
                <c:pt idx="158">
                  <c:v>41620</c:v>
                </c:pt>
                <c:pt idx="159">
                  <c:v>41621</c:v>
                </c:pt>
                <c:pt idx="160">
                  <c:v>41623</c:v>
                </c:pt>
                <c:pt idx="161">
                  <c:v>41624</c:v>
                </c:pt>
                <c:pt idx="162">
                  <c:v>41625</c:v>
                </c:pt>
                <c:pt idx="163">
                  <c:v>41626</c:v>
                </c:pt>
                <c:pt idx="164">
                  <c:v>41627</c:v>
                </c:pt>
                <c:pt idx="165">
                  <c:v>41628</c:v>
                </c:pt>
                <c:pt idx="166">
                  <c:v>41630</c:v>
                </c:pt>
                <c:pt idx="167">
                  <c:v>41631</c:v>
                </c:pt>
                <c:pt idx="168">
                  <c:v>41632</c:v>
                </c:pt>
                <c:pt idx="169">
                  <c:v>41633</c:v>
                </c:pt>
                <c:pt idx="170">
                  <c:v>41634</c:v>
                </c:pt>
                <c:pt idx="171">
                  <c:v>41635</c:v>
                </c:pt>
                <c:pt idx="172">
                  <c:v>41637</c:v>
                </c:pt>
                <c:pt idx="173">
                  <c:v>41638</c:v>
                </c:pt>
                <c:pt idx="174">
                  <c:v>41639</c:v>
                </c:pt>
                <c:pt idx="175">
                  <c:v>41640</c:v>
                </c:pt>
                <c:pt idx="176">
                  <c:v>41641</c:v>
                </c:pt>
                <c:pt idx="177">
                  <c:v>41642</c:v>
                </c:pt>
                <c:pt idx="178">
                  <c:v>41644</c:v>
                </c:pt>
                <c:pt idx="179">
                  <c:v>41645</c:v>
                </c:pt>
                <c:pt idx="180">
                  <c:v>41646</c:v>
                </c:pt>
                <c:pt idx="181">
                  <c:v>41647</c:v>
                </c:pt>
                <c:pt idx="182">
                  <c:v>41648</c:v>
                </c:pt>
                <c:pt idx="183">
                  <c:v>41649</c:v>
                </c:pt>
                <c:pt idx="184">
                  <c:v>41651</c:v>
                </c:pt>
                <c:pt idx="185">
                  <c:v>41652</c:v>
                </c:pt>
                <c:pt idx="186">
                  <c:v>41653</c:v>
                </c:pt>
                <c:pt idx="187">
                  <c:v>41654</c:v>
                </c:pt>
                <c:pt idx="188">
                  <c:v>41655</c:v>
                </c:pt>
                <c:pt idx="189">
                  <c:v>41656</c:v>
                </c:pt>
                <c:pt idx="190">
                  <c:v>41658</c:v>
                </c:pt>
                <c:pt idx="191">
                  <c:v>41659</c:v>
                </c:pt>
                <c:pt idx="192">
                  <c:v>41660</c:v>
                </c:pt>
                <c:pt idx="193">
                  <c:v>41661</c:v>
                </c:pt>
                <c:pt idx="194">
                  <c:v>41662</c:v>
                </c:pt>
                <c:pt idx="195">
                  <c:v>41663</c:v>
                </c:pt>
                <c:pt idx="196">
                  <c:v>41665</c:v>
                </c:pt>
                <c:pt idx="197">
                  <c:v>41666</c:v>
                </c:pt>
                <c:pt idx="198">
                  <c:v>41667</c:v>
                </c:pt>
                <c:pt idx="199">
                  <c:v>41668</c:v>
                </c:pt>
                <c:pt idx="200">
                  <c:v>41669</c:v>
                </c:pt>
                <c:pt idx="201">
                  <c:v>41670</c:v>
                </c:pt>
                <c:pt idx="202">
                  <c:v>41676</c:v>
                </c:pt>
                <c:pt idx="203">
                  <c:v>41677</c:v>
                </c:pt>
                <c:pt idx="204">
                  <c:v>41679</c:v>
                </c:pt>
                <c:pt idx="205">
                  <c:v>41680</c:v>
                </c:pt>
                <c:pt idx="206">
                  <c:v>41681</c:v>
                </c:pt>
                <c:pt idx="207">
                  <c:v>41682</c:v>
                </c:pt>
                <c:pt idx="208">
                  <c:v>41683</c:v>
                </c:pt>
                <c:pt idx="209">
                  <c:v>41684</c:v>
                </c:pt>
                <c:pt idx="210">
                  <c:v>41686</c:v>
                </c:pt>
                <c:pt idx="211">
                  <c:v>41687</c:v>
                </c:pt>
                <c:pt idx="212">
                  <c:v>41688</c:v>
                </c:pt>
                <c:pt idx="213">
                  <c:v>41689</c:v>
                </c:pt>
                <c:pt idx="214">
                  <c:v>41690</c:v>
                </c:pt>
                <c:pt idx="215">
                  <c:v>41691</c:v>
                </c:pt>
                <c:pt idx="216">
                  <c:v>41693</c:v>
                </c:pt>
                <c:pt idx="217">
                  <c:v>41694</c:v>
                </c:pt>
                <c:pt idx="218">
                  <c:v>41695</c:v>
                </c:pt>
                <c:pt idx="219">
                  <c:v>41696</c:v>
                </c:pt>
                <c:pt idx="220">
                  <c:v>41697</c:v>
                </c:pt>
                <c:pt idx="221">
                  <c:v>41698</c:v>
                </c:pt>
                <c:pt idx="222">
                  <c:v>41700</c:v>
                </c:pt>
                <c:pt idx="223">
                  <c:v>41701</c:v>
                </c:pt>
                <c:pt idx="224">
                  <c:v>41702</c:v>
                </c:pt>
                <c:pt idx="225">
                  <c:v>41703</c:v>
                </c:pt>
                <c:pt idx="226">
                  <c:v>41704</c:v>
                </c:pt>
                <c:pt idx="227">
                  <c:v>41705</c:v>
                </c:pt>
                <c:pt idx="228">
                  <c:v>41707</c:v>
                </c:pt>
                <c:pt idx="229">
                  <c:v>41708</c:v>
                </c:pt>
                <c:pt idx="230">
                  <c:v>41709</c:v>
                </c:pt>
                <c:pt idx="231">
                  <c:v>41710</c:v>
                </c:pt>
                <c:pt idx="232">
                  <c:v>41711</c:v>
                </c:pt>
                <c:pt idx="233">
                  <c:v>41712</c:v>
                </c:pt>
                <c:pt idx="234">
                  <c:v>41714</c:v>
                </c:pt>
                <c:pt idx="235">
                  <c:v>41715</c:v>
                </c:pt>
                <c:pt idx="236">
                  <c:v>41716</c:v>
                </c:pt>
                <c:pt idx="237">
                  <c:v>41717</c:v>
                </c:pt>
                <c:pt idx="238">
                  <c:v>41718</c:v>
                </c:pt>
                <c:pt idx="239">
                  <c:v>41719</c:v>
                </c:pt>
                <c:pt idx="240">
                  <c:v>41721</c:v>
                </c:pt>
                <c:pt idx="241">
                  <c:v>41722</c:v>
                </c:pt>
                <c:pt idx="242">
                  <c:v>41723</c:v>
                </c:pt>
                <c:pt idx="243">
                  <c:v>41724</c:v>
                </c:pt>
                <c:pt idx="244">
                  <c:v>41725</c:v>
                </c:pt>
                <c:pt idx="245">
                  <c:v>41726</c:v>
                </c:pt>
                <c:pt idx="246">
                  <c:v>41728</c:v>
                </c:pt>
                <c:pt idx="247">
                  <c:v>41729</c:v>
                </c:pt>
                <c:pt idx="248">
                  <c:v>41730</c:v>
                </c:pt>
                <c:pt idx="249">
                  <c:v>41731</c:v>
                </c:pt>
                <c:pt idx="250">
                  <c:v>41732</c:v>
                </c:pt>
                <c:pt idx="251">
                  <c:v>41733</c:v>
                </c:pt>
                <c:pt idx="252">
                  <c:v>41736</c:v>
                </c:pt>
                <c:pt idx="253">
                  <c:v>41737</c:v>
                </c:pt>
                <c:pt idx="254">
                  <c:v>41738</c:v>
                </c:pt>
                <c:pt idx="255">
                  <c:v>41739</c:v>
                </c:pt>
                <c:pt idx="256">
                  <c:v>41740</c:v>
                </c:pt>
                <c:pt idx="257">
                  <c:v>41742</c:v>
                </c:pt>
                <c:pt idx="258">
                  <c:v>41743</c:v>
                </c:pt>
                <c:pt idx="259">
                  <c:v>41744</c:v>
                </c:pt>
                <c:pt idx="260">
                  <c:v>41745</c:v>
                </c:pt>
                <c:pt idx="261">
                  <c:v>41746</c:v>
                </c:pt>
                <c:pt idx="262">
                  <c:v>41747</c:v>
                </c:pt>
                <c:pt idx="263">
                  <c:v>41749</c:v>
                </c:pt>
                <c:pt idx="264">
                  <c:v>41750</c:v>
                </c:pt>
                <c:pt idx="265">
                  <c:v>41751</c:v>
                </c:pt>
                <c:pt idx="266">
                  <c:v>41752</c:v>
                </c:pt>
                <c:pt idx="267">
                  <c:v>41753</c:v>
                </c:pt>
                <c:pt idx="268">
                  <c:v>41754</c:v>
                </c:pt>
                <c:pt idx="269">
                  <c:v>41756</c:v>
                </c:pt>
                <c:pt idx="270">
                  <c:v>41757</c:v>
                </c:pt>
                <c:pt idx="271">
                  <c:v>41758</c:v>
                </c:pt>
                <c:pt idx="272">
                  <c:v>41759</c:v>
                </c:pt>
                <c:pt idx="273">
                  <c:v>41763</c:v>
                </c:pt>
                <c:pt idx="274">
                  <c:v>41764</c:v>
                </c:pt>
                <c:pt idx="275">
                  <c:v>41765</c:v>
                </c:pt>
                <c:pt idx="276">
                  <c:v>41766</c:v>
                </c:pt>
                <c:pt idx="277">
                  <c:v>41767</c:v>
                </c:pt>
                <c:pt idx="278">
                  <c:v>41768</c:v>
                </c:pt>
                <c:pt idx="279">
                  <c:v>41770</c:v>
                </c:pt>
                <c:pt idx="280">
                  <c:v>41771</c:v>
                </c:pt>
                <c:pt idx="281">
                  <c:v>41772</c:v>
                </c:pt>
                <c:pt idx="282">
                  <c:v>41773</c:v>
                </c:pt>
                <c:pt idx="283">
                  <c:v>41774</c:v>
                </c:pt>
                <c:pt idx="284">
                  <c:v>41775</c:v>
                </c:pt>
                <c:pt idx="285">
                  <c:v>41777</c:v>
                </c:pt>
                <c:pt idx="286">
                  <c:v>41778</c:v>
                </c:pt>
                <c:pt idx="287">
                  <c:v>41779</c:v>
                </c:pt>
                <c:pt idx="288">
                  <c:v>41780</c:v>
                </c:pt>
                <c:pt idx="289">
                  <c:v>41781</c:v>
                </c:pt>
                <c:pt idx="290">
                  <c:v>41782</c:v>
                </c:pt>
                <c:pt idx="291">
                  <c:v>41784</c:v>
                </c:pt>
                <c:pt idx="292">
                  <c:v>41785</c:v>
                </c:pt>
                <c:pt idx="293">
                  <c:v>41786</c:v>
                </c:pt>
                <c:pt idx="294">
                  <c:v>41787</c:v>
                </c:pt>
                <c:pt idx="295">
                  <c:v>41788</c:v>
                </c:pt>
                <c:pt idx="296">
                  <c:v>41789</c:v>
                </c:pt>
                <c:pt idx="297">
                  <c:v>41790</c:v>
                </c:pt>
                <c:pt idx="298">
                  <c:v>41792</c:v>
                </c:pt>
                <c:pt idx="299">
                  <c:v>41793</c:v>
                </c:pt>
                <c:pt idx="300">
                  <c:v>41794</c:v>
                </c:pt>
                <c:pt idx="301">
                  <c:v>41795</c:v>
                </c:pt>
                <c:pt idx="302">
                  <c:v>41796</c:v>
                </c:pt>
                <c:pt idx="303">
                  <c:v>41798</c:v>
                </c:pt>
                <c:pt idx="304">
                  <c:v>41799</c:v>
                </c:pt>
                <c:pt idx="305">
                  <c:v>41800</c:v>
                </c:pt>
                <c:pt idx="306">
                  <c:v>41801</c:v>
                </c:pt>
                <c:pt idx="307">
                  <c:v>41802</c:v>
                </c:pt>
                <c:pt idx="308">
                  <c:v>41803</c:v>
                </c:pt>
                <c:pt idx="309">
                  <c:v>41805</c:v>
                </c:pt>
                <c:pt idx="310">
                  <c:v>41806</c:v>
                </c:pt>
                <c:pt idx="311">
                  <c:v>41807</c:v>
                </c:pt>
                <c:pt idx="312">
                  <c:v>41808</c:v>
                </c:pt>
                <c:pt idx="313">
                  <c:v>41809</c:v>
                </c:pt>
                <c:pt idx="314">
                  <c:v>41810</c:v>
                </c:pt>
                <c:pt idx="315">
                  <c:v>41812</c:v>
                </c:pt>
                <c:pt idx="316">
                  <c:v>41813</c:v>
                </c:pt>
                <c:pt idx="317">
                  <c:v>41814</c:v>
                </c:pt>
                <c:pt idx="318">
                  <c:v>41815</c:v>
                </c:pt>
                <c:pt idx="319">
                  <c:v>41816</c:v>
                </c:pt>
                <c:pt idx="320">
                  <c:v>41817</c:v>
                </c:pt>
                <c:pt idx="321">
                  <c:v>41819</c:v>
                </c:pt>
                <c:pt idx="322">
                  <c:v>41820</c:v>
                </c:pt>
                <c:pt idx="323">
                  <c:v>41821</c:v>
                </c:pt>
                <c:pt idx="324">
                  <c:v>41822</c:v>
                </c:pt>
                <c:pt idx="325">
                  <c:v>41823</c:v>
                </c:pt>
                <c:pt idx="326">
                  <c:v>41824</c:v>
                </c:pt>
                <c:pt idx="327">
                  <c:v>41826</c:v>
                </c:pt>
                <c:pt idx="328">
                  <c:v>41827</c:v>
                </c:pt>
                <c:pt idx="329">
                  <c:v>41828</c:v>
                </c:pt>
                <c:pt idx="330">
                  <c:v>41829</c:v>
                </c:pt>
                <c:pt idx="331">
                  <c:v>41830</c:v>
                </c:pt>
                <c:pt idx="332">
                  <c:v>41831</c:v>
                </c:pt>
                <c:pt idx="333">
                  <c:v>41833</c:v>
                </c:pt>
                <c:pt idx="334">
                  <c:v>41834</c:v>
                </c:pt>
                <c:pt idx="335">
                  <c:v>41835</c:v>
                </c:pt>
                <c:pt idx="336">
                  <c:v>41836</c:v>
                </c:pt>
                <c:pt idx="337">
                  <c:v>41837</c:v>
                </c:pt>
                <c:pt idx="338">
                  <c:v>41838</c:v>
                </c:pt>
                <c:pt idx="339">
                  <c:v>41840</c:v>
                </c:pt>
                <c:pt idx="340">
                  <c:v>41841</c:v>
                </c:pt>
                <c:pt idx="341">
                  <c:v>41842</c:v>
                </c:pt>
                <c:pt idx="342">
                  <c:v>41843</c:v>
                </c:pt>
                <c:pt idx="343">
                  <c:v>41844</c:v>
                </c:pt>
                <c:pt idx="344">
                  <c:v>41845</c:v>
                </c:pt>
                <c:pt idx="345">
                  <c:v>41847</c:v>
                </c:pt>
                <c:pt idx="346">
                  <c:v>41848</c:v>
                </c:pt>
                <c:pt idx="347">
                  <c:v>41849</c:v>
                </c:pt>
                <c:pt idx="348">
                  <c:v>41850</c:v>
                </c:pt>
                <c:pt idx="349">
                  <c:v>41851</c:v>
                </c:pt>
                <c:pt idx="350">
                  <c:v>41852</c:v>
                </c:pt>
                <c:pt idx="351">
                  <c:v>41854</c:v>
                </c:pt>
                <c:pt idx="352">
                  <c:v>41855</c:v>
                </c:pt>
                <c:pt idx="353">
                  <c:v>41856</c:v>
                </c:pt>
                <c:pt idx="354">
                  <c:v>41857</c:v>
                </c:pt>
                <c:pt idx="355">
                  <c:v>41858</c:v>
                </c:pt>
                <c:pt idx="356">
                  <c:v>41859</c:v>
                </c:pt>
                <c:pt idx="357">
                  <c:v>41861</c:v>
                </c:pt>
                <c:pt idx="358">
                  <c:v>41862</c:v>
                </c:pt>
                <c:pt idx="359">
                  <c:v>41863</c:v>
                </c:pt>
                <c:pt idx="360">
                  <c:v>41864</c:v>
                </c:pt>
                <c:pt idx="361">
                  <c:v>41865</c:v>
                </c:pt>
                <c:pt idx="362">
                  <c:v>41866</c:v>
                </c:pt>
                <c:pt idx="363">
                  <c:v>41868</c:v>
                </c:pt>
                <c:pt idx="364">
                  <c:v>41869</c:v>
                </c:pt>
                <c:pt idx="365">
                  <c:v>41870</c:v>
                </c:pt>
                <c:pt idx="366">
                  <c:v>41871</c:v>
                </c:pt>
                <c:pt idx="367">
                  <c:v>41872</c:v>
                </c:pt>
                <c:pt idx="368">
                  <c:v>41873</c:v>
                </c:pt>
                <c:pt idx="369">
                  <c:v>41875</c:v>
                </c:pt>
                <c:pt idx="370">
                  <c:v>41876</c:v>
                </c:pt>
                <c:pt idx="371">
                  <c:v>41877</c:v>
                </c:pt>
                <c:pt idx="372">
                  <c:v>41878</c:v>
                </c:pt>
                <c:pt idx="373">
                  <c:v>41879</c:v>
                </c:pt>
                <c:pt idx="374">
                  <c:v>41880</c:v>
                </c:pt>
                <c:pt idx="375">
                  <c:v>41882</c:v>
                </c:pt>
                <c:pt idx="376">
                  <c:v>41883</c:v>
                </c:pt>
                <c:pt idx="377">
                  <c:v>41884</c:v>
                </c:pt>
                <c:pt idx="378">
                  <c:v>41885</c:v>
                </c:pt>
                <c:pt idx="379">
                  <c:v>41886</c:v>
                </c:pt>
                <c:pt idx="380">
                  <c:v>41887</c:v>
                </c:pt>
                <c:pt idx="381">
                  <c:v>41890</c:v>
                </c:pt>
                <c:pt idx="382">
                  <c:v>41891</c:v>
                </c:pt>
                <c:pt idx="383">
                  <c:v>41892</c:v>
                </c:pt>
                <c:pt idx="384">
                  <c:v>41893</c:v>
                </c:pt>
                <c:pt idx="385">
                  <c:v>41894</c:v>
                </c:pt>
                <c:pt idx="386">
                  <c:v>41896</c:v>
                </c:pt>
                <c:pt idx="387">
                  <c:v>41897</c:v>
                </c:pt>
                <c:pt idx="388">
                  <c:v>41898</c:v>
                </c:pt>
                <c:pt idx="389">
                  <c:v>41899</c:v>
                </c:pt>
                <c:pt idx="390">
                  <c:v>41900</c:v>
                </c:pt>
                <c:pt idx="391">
                  <c:v>41901</c:v>
                </c:pt>
                <c:pt idx="392">
                  <c:v>41903</c:v>
                </c:pt>
                <c:pt idx="393">
                  <c:v>41904</c:v>
                </c:pt>
                <c:pt idx="394">
                  <c:v>41905</c:v>
                </c:pt>
                <c:pt idx="395">
                  <c:v>41906</c:v>
                </c:pt>
                <c:pt idx="396">
                  <c:v>41907</c:v>
                </c:pt>
                <c:pt idx="397">
                  <c:v>41908</c:v>
                </c:pt>
                <c:pt idx="398">
                  <c:v>41910</c:v>
                </c:pt>
                <c:pt idx="399">
                  <c:v>41911</c:v>
                </c:pt>
                <c:pt idx="400">
                  <c:v>41912</c:v>
                </c:pt>
                <c:pt idx="401">
                  <c:v>41919</c:v>
                </c:pt>
                <c:pt idx="402">
                  <c:v>41920</c:v>
                </c:pt>
                <c:pt idx="403">
                  <c:v>41921</c:v>
                </c:pt>
                <c:pt idx="404">
                  <c:v>41922</c:v>
                </c:pt>
                <c:pt idx="405">
                  <c:v>41924</c:v>
                </c:pt>
                <c:pt idx="406">
                  <c:v>41925</c:v>
                </c:pt>
                <c:pt idx="407">
                  <c:v>41926</c:v>
                </c:pt>
                <c:pt idx="408">
                  <c:v>41927</c:v>
                </c:pt>
                <c:pt idx="409">
                  <c:v>41928</c:v>
                </c:pt>
                <c:pt idx="410">
                  <c:v>41929</c:v>
                </c:pt>
                <c:pt idx="411">
                  <c:v>41931</c:v>
                </c:pt>
                <c:pt idx="412">
                  <c:v>41932</c:v>
                </c:pt>
                <c:pt idx="413">
                  <c:v>41933</c:v>
                </c:pt>
                <c:pt idx="414">
                  <c:v>41934</c:v>
                </c:pt>
                <c:pt idx="415">
                  <c:v>41935</c:v>
                </c:pt>
                <c:pt idx="416">
                  <c:v>41936</c:v>
                </c:pt>
                <c:pt idx="417">
                  <c:v>41938</c:v>
                </c:pt>
                <c:pt idx="418">
                  <c:v>41939</c:v>
                </c:pt>
                <c:pt idx="419">
                  <c:v>41940</c:v>
                </c:pt>
                <c:pt idx="420">
                  <c:v>41941</c:v>
                </c:pt>
                <c:pt idx="421">
                  <c:v>41942</c:v>
                </c:pt>
                <c:pt idx="422">
                  <c:v>41943</c:v>
                </c:pt>
                <c:pt idx="423">
                  <c:v>41945</c:v>
                </c:pt>
                <c:pt idx="424">
                  <c:v>41946</c:v>
                </c:pt>
                <c:pt idx="425">
                  <c:v>41947</c:v>
                </c:pt>
                <c:pt idx="426">
                  <c:v>41948</c:v>
                </c:pt>
                <c:pt idx="427">
                  <c:v>41949</c:v>
                </c:pt>
                <c:pt idx="428">
                  <c:v>41950</c:v>
                </c:pt>
                <c:pt idx="429">
                  <c:v>41952</c:v>
                </c:pt>
                <c:pt idx="430">
                  <c:v>41953</c:v>
                </c:pt>
                <c:pt idx="431">
                  <c:v>41954</c:v>
                </c:pt>
                <c:pt idx="432">
                  <c:v>41955</c:v>
                </c:pt>
                <c:pt idx="433">
                  <c:v>41956</c:v>
                </c:pt>
                <c:pt idx="434">
                  <c:v>41957</c:v>
                </c:pt>
                <c:pt idx="435">
                  <c:v>41959</c:v>
                </c:pt>
                <c:pt idx="436">
                  <c:v>41960</c:v>
                </c:pt>
                <c:pt idx="437">
                  <c:v>41961</c:v>
                </c:pt>
                <c:pt idx="438">
                  <c:v>41962</c:v>
                </c:pt>
                <c:pt idx="439">
                  <c:v>41963</c:v>
                </c:pt>
                <c:pt idx="440">
                  <c:v>41964</c:v>
                </c:pt>
                <c:pt idx="441">
                  <c:v>41965</c:v>
                </c:pt>
                <c:pt idx="442">
                  <c:v>41966</c:v>
                </c:pt>
                <c:pt idx="443">
                  <c:v>41967</c:v>
                </c:pt>
                <c:pt idx="444">
                  <c:v>41968</c:v>
                </c:pt>
                <c:pt idx="445">
                  <c:v>41969</c:v>
                </c:pt>
                <c:pt idx="446">
                  <c:v>41970</c:v>
                </c:pt>
                <c:pt idx="447">
                  <c:v>41971</c:v>
                </c:pt>
                <c:pt idx="448">
                  <c:v>41973</c:v>
                </c:pt>
                <c:pt idx="449">
                  <c:v>41974</c:v>
                </c:pt>
                <c:pt idx="450">
                  <c:v>41975</c:v>
                </c:pt>
                <c:pt idx="451">
                  <c:v>41976</c:v>
                </c:pt>
                <c:pt idx="452">
                  <c:v>41977</c:v>
                </c:pt>
                <c:pt idx="453">
                  <c:v>41978</c:v>
                </c:pt>
                <c:pt idx="454">
                  <c:v>41980</c:v>
                </c:pt>
                <c:pt idx="455">
                  <c:v>41981</c:v>
                </c:pt>
                <c:pt idx="456">
                  <c:v>41982</c:v>
                </c:pt>
                <c:pt idx="457">
                  <c:v>41983</c:v>
                </c:pt>
                <c:pt idx="458">
                  <c:v>41984</c:v>
                </c:pt>
                <c:pt idx="459">
                  <c:v>41985</c:v>
                </c:pt>
                <c:pt idx="460">
                  <c:v>41987</c:v>
                </c:pt>
                <c:pt idx="461">
                  <c:v>41988</c:v>
                </c:pt>
                <c:pt idx="462">
                  <c:v>41989</c:v>
                </c:pt>
                <c:pt idx="463">
                  <c:v>41990</c:v>
                </c:pt>
                <c:pt idx="464">
                  <c:v>41991</c:v>
                </c:pt>
                <c:pt idx="465">
                  <c:v>41992</c:v>
                </c:pt>
                <c:pt idx="466">
                  <c:v>41994</c:v>
                </c:pt>
                <c:pt idx="467">
                  <c:v>41995</c:v>
                </c:pt>
                <c:pt idx="468">
                  <c:v>41996</c:v>
                </c:pt>
                <c:pt idx="469">
                  <c:v>41997</c:v>
                </c:pt>
                <c:pt idx="470">
                  <c:v>41998</c:v>
                </c:pt>
                <c:pt idx="471">
                  <c:v>41999</c:v>
                </c:pt>
                <c:pt idx="472">
                  <c:v>42001</c:v>
                </c:pt>
                <c:pt idx="473">
                  <c:v>42002</c:v>
                </c:pt>
                <c:pt idx="474">
                  <c:v>42003</c:v>
                </c:pt>
                <c:pt idx="475">
                  <c:v>42004</c:v>
                </c:pt>
                <c:pt idx="476">
                  <c:v>42008</c:v>
                </c:pt>
                <c:pt idx="477">
                  <c:v>42009</c:v>
                </c:pt>
                <c:pt idx="478">
                  <c:v>42010</c:v>
                </c:pt>
                <c:pt idx="479">
                  <c:v>42011</c:v>
                </c:pt>
                <c:pt idx="480">
                  <c:v>42012</c:v>
                </c:pt>
                <c:pt idx="481">
                  <c:v>42013</c:v>
                </c:pt>
                <c:pt idx="482">
                  <c:v>42015</c:v>
                </c:pt>
                <c:pt idx="483">
                  <c:v>42016</c:v>
                </c:pt>
                <c:pt idx="484">
                  <c:v>42017</c:v>
                </c:pt>
                <c:pt idx="485">
                  <c:v>42018</c:v>
                </c:pt>
                <c:pt idx="486">
                  <c:v>42019</c:v>
                </c:pt>
                <c:pt idx="487">
                  <c:v>42020</c:v>
                </c:pt>
                <c:pt idx="488">
                  <c:v>42022</c:v>
                </c:pt>
                <c:pt idx="489">
                  <c:v>42023</c:v>
                </c:pt>
                <c:pt idx="490">
                  <c:v>42024</c:v>
                </c:pt>
                <c:pt idx="491">
                  <c:v>42025</c:v>
                </c:pt>
                <c:pt idx="492">
                  <c:v>42026</c:v>
                </c:pt>
                <c:pt idx="493">
                  <c:v>42027</c:v>
                </c:pt>
                <c:pt idx="494">
                  <c:v>42029</c:v>
                </c:pt>
                <c:pt idx="495">
                  <c:v>42030</c:v>
                </c:pt>
                <c:pt idx="496">
                  <c:v>42031</c:v>
                </c:pt>
                <c:pt idx="497">
                  <c:v>42032</c:v>
                </c:pt>
                <c:pt idx="498">
                  <c:v>42033</c:v>
                </c:pt>
                <c:pt idx="499">
                  <c:v>42034</c:v>
                </c:pt>
                <c:pt idx="500">
                  <c:v>42035</c:v>
                </c:pt>
                <c:pt idx="501">
                  <c:v>42036</c:v>
                </c:pt>
                <c:pt idx="502">
                  <c:v>42037</c:v>
                </c:pt>
                <c:pt idx="503">
                  <c:v>42038</c:v>
                </c:pt>
                <c:pt idx="504">
                  <c:v>42039</c:v>
                </c:pt>
                <c:pt idx="505">
                  <c:v>42040</c:v>
                </c:pt>
                <c:pt idx="506">
                  <c:v>42041</c:v>
                </c:pt>
                <c:pt idx="507">
                  <c:v>42043</c:v>
                </c:pt>
                <c:pt idx="508">
                  <c:v>42044</c:v>
                </c:pt>
                <c:pt idx="509">
                  <c:v>42045</c:v>
                </c:pt>
                <c:pt idx="510">
                  <c:v>42046</c:v>
                </c:pt>
                <c:pt idx="511">
                  <c:v>42047</c:v>
                </c:pt>
                <c:pt idx="512">
                  <c:v>42048</c:v>
                </c:pt>
                <c:pt idx="513">
                  <c:v>42050</c:v>
                </c:pt>
                <c:pt idx="514">
                  <c:v>42051</c:v>
                </c:pt>
                <c:pt idx="515">
                  <c:v>42052</c:v>
                </c:pt>
                <c:pt idx="516">
                  <c:v>42059</c:v>
                </c:pt>
                <c:pt idx="517">
                  <c:v>42060</c:v>
                </c:pt>
                <c:pt idx="518">
                  <c:v>42061</c:v>
                </c:pt>
                <c:pt idx="519">
                  <c:v>42062</c:v>
                </c:pt>
                <c:pt idx="520">
                  <c:v>42063</c:v>
                </c:pt>
                <c:pt idx="521">
                  <c:v>42064</c:v>
                </c:pt>
                <c:pt idx="522">
                  <c:v>42065</c:v>
                </c:pt>
                <c:pt idx="523">
                  <c:v>42066</c:v>
                </c:pt>
                <c:pt idx="524">
                  <c:v>42067</c:v>
                </c:pt>
                <c:pt idx="525">
                  <c:v>42068</c:v>
                </c:pt>
                <c:pt idx="526">
                  <c:v>42069</c:v>
                </c:pt>
                <c:pt idx="527">
                  <c:v>42071</c:v>
                </c:pt>
                <c:pt idx="528">
                  <c:v>42072</c:v>
                </c:pt>
                <c:pt idx="529">
                  <c:v>42073</c:v>
                </c:pt>
                <c:pt idx="530">
                  <c:v>42074</c:v>
                </c:pt>
                <c:pt idx="531">
                  <c:v>42075</c:v>
                </c:pt>
                <c:pt idx="532">
                  <c:v>42076</c:v>
                </c:pt>
                <c:pt idx="533">
                  <c:v>42078</c:v>
                </c:pt>
                <c:pt idx="534">
                  <c:v>42079</c:v>
                </c:pt>
                <c:pt idx="535">
                  <c:v>42080</c:v>
                </c:pt>
                <c:pt idx="536">
                  <c:v>42081</c:v>
                </c:pt>
                <c:pt idx="537">
                  <c:v>42082</c:v>
                </c:pt>
                <c:pt idx="538">
                  <c:v>42083</c:v>
                </c:pt>
                <c:pt idx="539">
                  <c:v>42085</c:v>
                </c:pt>
                <c:pt idx="540">
                  <c:v>42086</c:v>
                </c:pt>
                <c:pt idx="541">
                  <c:v>42087</c:v>
                </c:pt>
                <c:pt idx="542">
                  <c:v>42088</c:v>
                </c:pt>
                <c:pt idx="543">
                  <c:v>42089</c:v>
                </c:pt>
                <c:pt idx="544">
                  <c:v>42090</c:v>
                </c:pt>
                <c:pt idx="545">
                  <c:v>42092</c:v>
                </c:pt>
                <c:pt idx="546">
                  <c:v>42093</c:v>
                </c:pt>
                <c:pt idx="547">
                  <c:v>42094</c:v>
                </c:pt>
                <c:pt idx="548">
                  <c:v>42095</c:v>
                </c:pt>
                <c:pt idx="549">
                  <c:v>42096</c:v>
                </c:pt>
                <c:pt idx="550">
                  <c:v>42097</c:v>
                </c:pt>
                <c:pt idx="551">
                  <c:v>42100</c:v>
                </c:pt>
                <c:pt idx="552">
                  <c:v>42101</c:v>
                </c:pt>
                <c:pt idx="553">
                  <c:v>42102</c:v>
                </c:pt>
                <c:pt idx="554">
                  <c:v>42103</c:v>
                </c:pt>
                <c:pt idx="555">
                  <c:v>42104</c:v>
                </c:pt>
                <c:pt idx="556">
                  <c:v>42106</c:v>
                </c:pt>
                <c:pt idx="557">
                  <c:v>42107</c:v>
                </c:pt>
                <c:pt idx="558">
                  <c:v>42108</c:v>
                </c:pt>
                <c:pt idx="559">
                  <c:v>42109</c:v>
                </c:pt>
                <c:pt idx="560">
                  <c:v>42110</c:v>
                </c:pt>
                <c:pt idx="561">
                  <c:v>42111</c:v>
                </c:pt>
                <c:pt idx="562">
                  <c:v>42113</c:v>
                </c:pt>
                <c:pt idx="563">
                  <c:v>42114</c:v>
                </c:pt>
                <c:pt idx="564">
                  <c:v>42115</c:v>
                </c:pt>
                <c:pt idx="565">
                  <c:v>42116</c:v>
                </c:pt>
                <c:pt idx="566">
                  <c:v>42117</c:v>
                </c:pt>
                <c:pt idx="567">
                  <c:v>42118</c:v>
                </c:pt>
                <c:pt idx="568">
                  <c:v>42120</c:v>
                </c:pt>
                <c:pt idx="569">
                  <c:v>42121</c:v>
                </c:pt>
                <c:pt idx="570">
                  <c:v>42122</c:v>
                </c:pt>
                <c:pt idx="571">
                  <c:v>42123</c:v>
                </c:pt>
                <c:pt idx="572">
                  <c:v>42124</c:v>
                </c:pt>
                <c:pt idx="573">
                  <c:v>42127</c:v>
                </c:pt>
                <c:pt idx="574">
                  <c:v>42128</c:v>
                </c:pt>
                <c:pt idx="575">
                  <c:v>42129</c:v>
                </c:pt>
                <c:pt idx="576">
                  <c:v>42130</c:v>
                </c:pt>
                <c:pt idx="577">
                  <c:v>42131</c:v>
                </c:pt>
                <c:pt idx="578">
                  <c:v>42132</c:v>
                </c:pt>
                <c:pt idx="579">
                  <c:v>42134</c:v>
                </c:pt>
                <c:pt idx="580">
                  <c:v>42135</c:v>
                </c:pt>
                <c:pt idx="581">
                  <c:v>42136</c:v>
                </c:pt>
                <c:pt idx="582">
                  <c:v>42137</c:v>
                </c:pt>
                <c:pt idx="583">
                  <c:v>42138</c:v>
                </c:pt>
                <c:pt idx="584">
                  <c:v>42139</c:v>
                </c:pt>
                <c:pt idx="585">
                  <c:v>42141</c:v>
                </c:pt>
                <c:pt idx="586">
                  <c:v>42142</c:v>
                </c:pt>
                <c:pt idx="587">
                  <c:v>42143</c:v>
                </c:pt>
                <c:pt idx="588">
                  <c:v>42144</c:v>
                </c:pt>
                <c:pt idx="589">
                  <c:v>42145</c:v>
                </c:pt>
                <c:pt idx="590">
                  <c:v>42146</c:v>
                </c:pt>
                <c:pt idx="591">
                  <c:v>42148</c:v>
                </c:pt>
                <c:pt idx="592">
                  <c:v>42149</c:v>
                </c:pt>
                <c:pt idx="593">
                  <c:v>42150</c:v>
                </c:pt>
                <c:pt idx="594">
                  <c:v>42151</c:v>
                </c:pt>
                <c:pt idx="595">
                  <c:v>42152</c:v>
                </c:pt>
                <c:pt idx="596">
                  <c:v>42153</c:v>
                </c:pt>
                <c:pt idx="597">
                  <c:v>42155</c:v>
                </c:pt>
                <c:pt idx="598">
                  <c:v>42156</c:v>
                </c:pt>
                <c:pt idx="599">
                  <c:v>42157</c:v>
                </c:pt>
                <c:pt idx="600">
                  <c:v>42158</c:v>
                </c:pt>
                <c:pt idx="601">
                  <c:v>42159</c:v>
                </c:pt>
                <c:pt idx="602">
                  <c:v>42160</c:v>
                </c:pt>
                <c:pt idx="603">
                  <c:v>42162</c:v>
                </c:pt>
                <c:pt idx="604">
                  <c:v>42163</c:v>
                </c:pt>
                <c:pt idx="605">
                  <c:v>42164</c:v>
                </c:pt>
                <c:pt idx="606">
                  <c:v>42165</c:v>
                </c:pt>
                <c:pt idx="607">
                  <c:v>42166</c:v>
                </c:pt>
                <c:pt idx="608">
                  <c:v>42167</c:v>
                </c:pt>
                <c:pt idx="609">
                  <c:v>42169</c:v>
                </c:pt>
                <c:pt idx="610">
                  <c:v>42170</c:v>
                </c:pt>
                <c:pt idx="611">
                  <c:v>42171</c:v>
                </c:pt>
                <c:pt idx="612">
                  <c:v>42172</c:v>
                </c:pt>
                <c:pt idx="613">
                  <c:v>42173</c:v>
                </c:pt>
                <c:pt idx="614">
                  <c:v>42174</c:v>
                </c:pt>
                <c:pt idx="615">
                  <c:v>42177</c:v>
                </c:pt>
                <c:pt idx="616">
                  <c:v>42178</c:v>
                </c:pt>
                <c:pt idx="617">
                  <c:v>42179</c:v>
                </c:pt>
                <c:pt idx="618">
                  <c:v>42180</c:v>
                </c:pt>
                <c:pt idx="619">
                  <c:v>42181</c:v>
                </c:pt>
                <c:pt idx="620">
                  <c:v>42183</c:v>
                </c:pt>
                <c:pt idx="621">
                  <c:v>42184</c:v>
                </c:pt>
                <c:pt idx="622">
                  <c:v>42185</c:v>
                </c:pt>
                <c:pt idx="623">
                  <c:v>42186</c:v>
                </c:pt>
                <c:pt idx="624">
                  <c:v>42187</c:v>
                </c:pt>
                <c:pt idx="625">
                  <c:v>42188</c:v>
                </c:pt>
                <c:pt idx="626">
                  <c:v>42190</c:v>
                </c:pt>
                <c:pt idx="627">
                  <c:v>42191</c:v>
                </c:pt>
                <c:pt idx="628">
                  <c:v>42192</c:v>
                </c:pt>
                <c:pt idx="629">
                  <c:v>42193</c:v>
                </c:pt>
                <c:pt idx="630">
                  <c:v>42194</c:v>
                </c:pt>
                <c:pt idx="631">
                  <c:v>42195</c:v>
                </c:pt>
                <c:pt idx="632">
                  <c:v>42197</c:v>
                </c:pt>
                <c:pt idx="633">
                  <c:v>42198</c:v>
                </c:pt>
                <c:pt idx="634">
                  <c:v>42199</c:v>
                </c:pt>
                <c:pt idx="635">
                  <c:v>42200</c:v>
                </c:pt>
                <c:pt idx="636">
                  <c:v>42201</c:v>
                </c:pt>
                <c:pt idx="637">
                  <c:v>42202</c:v>
                </c:pt>
                <c:pt idx="638">
                  <c:v>42204</c:v>
                </c:pt>
                <c:pt idx="639">
                  <c:v>42205</c:v>
                </c:pt>
                <c:pt idx="640">
                  <c:v>42206</c:v>
                </c:pt>
                <c:pt idx="641">
                  <c:v>42207</c:v>
                </c:pt>
                <c:pt idx="642">
                  <c:v>42208</c:v>
                </c:pt>
                <c:pt idx="643">
                  <c:v>42209</c:v>
                </c:pt>
                <c:pt idx="644">
                  <c:v>42211</c:v>
                </c:pt>
                <c:pt idx="645">
                  <c:v>42212</c:v>
                </c:pt>
                <c:pt idx="646">
                  <c:v>42213</c:v>
                </c:pt>
                <c:pt idx="647">
                  <c:v>42214</c:v>
                </c:pt>
                <c:pt idx="648">
                  <c:v>42215</c:v>
                </c:pt>
                <c:pt idx="649">
                  <c:v>42216</c:v>
                </c:pt>
                <c:pt idx="650">
                  <c:v>42218</c:v>
                </c:pt>
                <c:pt idx="651">
                  <c:v>42219</c:v>
                </c:pt>
                <c:pt idx="652">
                  <c:v>42220</c:v>
                </c:pt>
                <c:pt idx="653">
                  <c:v>42221</c:v>
                </c:pt>
                <c:pt idx="654">
                  <c:v>42222</c:v>
                </c:pt>
                <c:pt idx="655">
                  <c:v>42223</c:v>
                </c:pt>
                <c:pt idx="656">
                  <c:v>42225</c:v>
                </c:pt>
                <c:pt idx="657">
                  <c:v>42226</c:v>
                </c:pt>
                <c:pt idx="658">
                  <c:v>42227</c:v>
                </c:pt>
                <c:pt idx="659">
                  <c:v>42228</c:v>
                </c:pt>
                <c:pt idx="660">
                  <c:v>42229</c:v>
                </c:pt>
                <c:pt idx="661">
                  <c:v>42230</c:v>
                </c:pt>
                <c:pt idx="662">
                  <c:v>42232</c:v>
                </c:pt>
                <c:pt idx="663">
                  <c:v>42233</c:v>
                </c:pt>
                <c:pt idx="664">
                  <c:v>42234</c:v>
                </c:pt>
                <c:pt idx="665">
                  <c:v>42235</c:v>
                </c:pt>
                <c:pt idx="666">
                  <c:v>42236</c:v>
                </c:pt>
                <c:pt idx="667">
                  <c:v>42237</c:v>
                </c:pt>
                <c:pt idx="668">
                  <c:v>42239</c:v>
                </c:pt>
                <c:pt idx="669">
                  <c:v>42240</c:v>
                </c:pt>
                <c:pt idx="670">
                  <c:v>42241</c:v>
                </c:pt>
                <c:pt idx="671">
                  <c:v>42242</c:v>
                </c:pt>
                <c:pt idx="672">
                  <c:v>42243</c:v>
                </c:pt>
                <c:pt idx="673">
                  <c:v>42244</c:v>
                </c:pt>
                <c:pt idx="674">
                  <c:v>42246</c:v>
                </c:pt>
                <c:pt idx="675">
                  <c:v>42247</c:v>
                </c:pt>
                <c:pt idx="676">
                  <c:v>42248</c:v>
                </c:pt>
                <c:pt idx="677">
                  <c:v>42249</c:v>
                </c:pt>
                <c:pt idx="678">
                  <c:v>42253</c:v>
                </c:pt>
                <c:pt idx="679">
                  <c:v>42254</c:v>
                </c:pt>
                <c:pt idx="680">
                  <c:v>42255</c:v>
                </c:pt>
                <c:pt idx="681">
                  <c:v>42256</c:v>
                </c:pt>
                <c:pt idx="682">
                  <c:v>42257</c:v>
                </c:pt>
                <c:pt idx="683">
                  <c:v>42258</c:v>
                </c:pt>
                <c:pt idx="684">
                  <c:v>42260</c:v>
                </c:pt>
                <c:pt idx="685">
                  <c:v>42261</c:v>
                </c:pt>
                <c:pt idx="686">
                  <c:v>42262</c:v>
                </c:pt>
                <c:pt idx="687">
                  <c:v>42263</c:v>
                </c:pt>
                <c:pt idx="688">
                  <c:v>42264</c:v>
                </c:pt>
                <c:pt idx="689">
                  <c:v>42265</c:v>
                </c:pt>
                <c:pt idx="690">
                  <c:v>42267</c:v>
                </c:pt>
                <c:pt idx="691">
                  <c:v>42268</c:v>
                </c:pt>
                <c:pt idx="692">
                  <c:v>42269</c:v>
                </c:pt>
                <c:pt idx="693">
                  <c:v>42270</c:v>
                </c:pt>
                <c:pt idx="694">
                  <c:v>42271</c:v>
                </c:pt>
                <c:pt idx="695">
                  <c:v>42272</c:v>
                </c:pt>
                <c:pt idx="696">
                  <c:v>42274</c:v>
                </c:pt>
                <c:pt idx="697">
                  <c:v>42275</c:v>
                </c:pt>
                <c:pt idx="698">
                  <c:v>42276</c:v>
                </c:pt>
                <c:pt idx="699">
                  <c:v>42277</c:v>
                </c:pt>
                <c:pt idx="700">
                  <c:v>42284</c:v>
                </c:pt>
                <c:pt idx="701">
                  <c:v>42285</c:v>
                </c:pt>
                <c:pt idx="702">
                  <c:v>42286</c:v>
                </c:pt>
                <c:pt idx="703">
                  <c:v>42288</c:v>
                </c:pt>
                <c:pt idx="704">
                  <c:v>42289</c:v>
                </c:pt>
                <c:pt idx="705">
                  <c:v>42290</c:v>
                </c:pt>
                <c:pt idx="706">
                  <c:v>42291</c:v>
                </c:pt>
                <c:pt idx="707">
                  <c:v>42292</c:v>
                </c:pt>
                <c:pt idx="708">
                  <c:v>42293</c:v>
                </c:pt>
                <c:pt idx="709">
                  <c:v>42295</c:v>
                </c:pt>
                <c:pt idx="710">
                  <c:v>42296</c:v>
                </c:pt>
                <c:pt idx="711">
                  <c:v>42297</c:v>
                </c:pt>
                <c:pt idx="712">
                  <c:v>42298</c:v>
                </c:pt>
                <c:pt idx="713">
                  <c:v>42299</c:v>
                </c:pt>
                <c:pt idx="714">
                  <c:v>42300</c:v>
                </c:pt>
                <c:pt idx="715">
                  <c:v>42301</c:v>
                </c:pt>
                <c:pt idx="716">
                  <c:v>42302</c:v>
                </c:pt>
                <c:pt idx="717">
                  <c:v>42303</c:v>
                </c:pt>
                <c:pt idx="718">
                  <c:v>42304</c:v>
                </c:pt>
                <c:pt idx="719">
                  <c:v>42305</c:v>
                </c:pt>
                <c:pt idx="720">
                  <c:v>42306</c:v>
                </c:pt>
                <c:pt idx="721">
                  <c:v>42307</c:v>
                </c:pt>
                <c:pt idx="722">
                  <c:v>42308</c:v>
                </c:pt>
                <c:pt idx="723">
                  <c:v>42309</c:v>
                </c:pt>
                <c:pt idx="724">
                  <c:v>42310</c:v>
                </c:pt>
                <c:pt idx="725">
                  <c:v>42311</c:v>
                </c:pt>
                <c:pt idx="726">
                  <c:v>42312</c:v>
                </c:pt>
                <c:pt idx="727">
                  <c:v>42313</c:v>
                </c:pt>
                <c:pt idx="728">
                  <c:v>42314</c:v>
                </c:pt>
                <c:pt idx="729">
                  <c:v>42316</c:v>
                </c:pt>
                <c:pt idx="730">
                  <c:v>42317</c:v>
                </c:pt>
                <c:pt idx="731">
                  <c:v>42318</c:v>
                </c:pt>
                <c:pt idx="732">
                  <c:v>42319</c:v>
                </c:pt>
                <c:pt idx="733">
                  <c:v>42320</c:v>
                </c:pt>
                <c:pt idx="734">
                  <c:v>42321</c:v>
                </c:pt>
                <c:pt idx="735">
                  <c:v>42323</c:v>
                </c:pt>
                <c:pt idx="736">
                  <c:v>42324</c:v>
                </c:pt>
                <c:pt idx="737">
                  <c:v>42325</c:v>
                </c:pt>
                <c:pt idx="738">
                  <c:v>42326</c:v>
                </c:pt>
                <c:pt idx="739">
                  <c:v>42327</c:v>
                </c:pt>
                <c:pt idx="740">
                  <c:v>42328</c:v>
                </c:pt>
                <c:pt idx="741">
                  <c:v>42330</c:v>
                </c:pt>
                <c:pt idx="742">
                  <c:v>42331</c:v>
                </c:pt>
                <c:pt idx="743">
                  <c:v>42332</c:v>
                </c:pt>
                <c:pt idx="744">
                  <c:v>42333</c:v>
                </c:pt>
                <c:pt idx="745">
                  <c:v>42334</c:v>
                </c:pt>
                <c:pt idx="746">
                  <c:v>42335</c:v>
                </c:pt>
                <c:pt idx="747">
                  <c:v>42337</c:v>
                </c:pt>
                <c:pt idx="748">
                  <c:v>42338</c:v>
                </c:pt>
                <c:pt idx="749">
                  <c:v>42339</c:v>
                </c:pt>
                <c:pt idx="750">
                  <c:v>42340</c:v>
                </c:pt>
                <c:pt idx="751">
                  <c:v>42341</c:v>
                </c:pt>
                <c:pt idx="752">
                  <c:v>42342</c:v>
                </c:pt>
                <c:pt idx="753">
                  <c:v>42344</c:v>
                </c:pt>
                <c:pt idx="754">
                  <c:v>42345</c:v>
                </c:pt>
                <c:pt idx="755">
                  <c:v>42346</c:v>
                </c:pt>
                <c:pt idx="756">
                  <c:v>42347</c:v>
                </c:pt>
                <c:pt idx="757">
                  <c:v>42348</c:v>
                </c:pt>
                <c:pt idx="758">
                  <c:v>42349</c:v>
                </c:pt>
                <c:pt idx="759">
                  <c:v>42351</c:v>
                </c:pt>
                <c:pt idx="760">
                  <c:v>42352</c:v>
                </c:pt>
                <c:pt idx="761">
                  <c:v>42353</c:v>
                </c:pt>
                <c:pt idx="762">
                  <c:v>42354</c:v>
                </c:pt>
                <c:pt idx="763">
                  <c:v>42355</c:v>
                </c:pt>
                <c:pt idx="764">
                  <c:v>42356</c:v>
                </c:pt>
                <c:pt idx="765">
                  <c:v>42358</c:v>
                </c:pt>
                <c:pt idx="766">
                  <c:v>42359</c:v>
                </c:pt>
                <c:pt idx="767">
                  <c:v>42360</c:v>
                </c:pt>
                <c:pt idx="768">
                  <c:v>42361</c:v>
                </c:pt>
                <c:pt idx="769">
                  <c:v>42362</c:v>
                </c:pt>
                <c:pt idx="770">
                  <c:v>42363</c:v>
                </c:pt>
                <c:pt idx="771">
                  <c:v>42365</c:v>
                </c:pt>
                <c:pt idx="772">
                  <c:v>42366</c:v>
                </c:pt>
                <c:pt idx="773">
                  <c:v>42367</c:v>
                </c:pt>
                <c:pt idx="774">
                  <c:v>42368</c:v>
                </c:pt>
                <c:pt idx="775">
                  <c:v>42369</c:v>
                </c:pt>
              </c:numCache>
            </c:numRef>
          </c:cat>
          <c:val>
            <c:numRef>
              <c:f>Sheet2!$D$2:$D$777</c:f>
              <c:numCache>
                <c:formatCode>###,###,###,###,##0.00_ </c:formatCode>
                <c:ptCount val="776"/>
                <c:pt idx="0">
                  <c:v>0.35</c:v>
                </c:pt>
                <c:pt idx="1">
                  <c:v>0.35</c:v>
                </c:pt>
                <c:pt idx="2">
                  <c:v>0.35</c:v>
                </c:pt>
                <c:pt idx="3">
                  <c:v>0.35</c:v>
                </c:pt>
                <c:pt idx="4">
                  <c:v>0.35</c:v>
                </c:pt>
                <c:pt idx="5">
                  <c:v>0.35</c:v>
                </c:pt>
                <c:pt idx="6">
                  <c:v>0.35</c:v>
                </c:pt>
                <c:pt idx="7">
                  <c:v>0.35</c:v>
                </c:pt>
                <c:pt idx="8">
                  <c:v>0.35</c:v>
                </c:pt>
                <c:pt idx="9">
                  <c:v>0.35</c:v>
                </c:pt>
                <c:pt idx="10">
                  <c:v>0.35</c:v>
                </c:pt>
                <c:pt idx="11">
                  <c:v>0.35</c:v>
                </c:pt>
                <c:pt idx="12">
                  <c:v>0.35</c:v>
                </c:pt>
                <c:pt idx="13">
                  <c:v>0.35</c:v>
                </c:pt>
                <c:pt idx="14">
                  <c:v>0.35</c:v>
                </c:pt>
                <c:pt idx="15">
                  <c:v>0.35</c:v>
                </c:pt>
                <c:pt idx="16">
                  <c:v>0.35</c:v>
                </c:pt>
                <c:pt idx="17">
                  <c:v>0.35</c:v>
                </c:pt>
                <c:pt idx="18">
                  <c:v>0.35</c:v>
                </c:pt>
                <c:pt idx="19">
                  <c:v>0.35</c:v>
                </c:pt>
                <c:pt idx="20">
                  <c:v>0.35</c:v>
                </c:pt>
                <c:pt idx="21">
                  <c:v>0.35</c:v>
                </c:pt>
                <c:pt idx="22">
                  <c:v>0.35</c:v>
                </c:pt>
                <c:pt idx="23">
                  <c:v>0.35</c:v>
                </c:pt>
                <c:pt idx="24">
                  <c:v>0.35</c:v>
                </c:pt>
                <c:pt idx="25">
                  <c:v>0.35</c:v>
                </c:pt>
                <c:pt idx="26">
                  <c:v>0.35</c:v>
                </c:pt>
                <c:pt idx="27">
                  <c:v>0.35</c:v>
                </c:pt>
                <c:pt idx="28">
                  <c:v>0.35</c:v>
                </c:pt>
                <c:pt idx="29">
                  <c:v>0.35</c:v>
                </c:pt>
                <c:pt idx="30">
                  <c:v>0.35</c:v>
                </c:pt>
                <c:pt idx="31">
                  <c:v>0.35</c:v>
                </c:pt>
                <c:pt idx="32">
                  <c:v>0.35</c:v>
                </c:pt>
                <c:pt idx="33">
                  <c:v>0.35</c:v>
                </c:pt>
                <c:pt idx="34">
                  <c:v>0.35</c:v>
                </c:pt>
                <c:pt idx="35">
                  <c:v>0.35</c:v>
                </c:pt>
                <c:pt idx="36">
                  <c:v>0.35</c:v>
                </c:pt>
                <c:pt idx="37">
                  <c:v>0.35</c:v>
                </c:pt>
                <c:pt idx="38">
                  <c:v>0.35</c:v>
                </c:pt>
                <c:pt idx="39">
                  <c:v>0.35</c:v>
                </c:pt>
                <c:pt idx="40">
                  <c:v>0.35</c:v>
                </c:pt>
                <c:pt idx="41">
                  <c:v>0.35</c:v>
                </c:pt>
                <c:pt idx="42">
                  <c:v>0.35</c:v>
                </c:pt>
                <c:pt idx="43">
                  <c:v>0.35</c:v>
                </c:pt>
                <c:pt idx="44">
                  <c:v>0.35</c:v>
                </c:pt>
                <c:pt idx="45">
                  <c:v>0.35</c:v>
                </c:pt>
                <c:pt idx="46">
                  <c:v>0.35</c:v>
                </c:pt>
                <c:pt idx="47">
                  <c:v>0.35</c:v>
                </c:pt>
                <c:pt idx="48">
                  <c:v>0.35</c:v>
                </c:pt>
                <c:pt idx="49">
                  <c:v>0.35</c:v>
                </c:pt>
                <c:pt idx="50">
                  <c:v>0.35</c:v>
                </c:pt>
                <c:pt idx="51">
                  <c:v>0.35</c:v>
                </c:pt>
                <c:pt idx="52">
                  <c:v>0.35</c:v>
                </c:pt>
                <c:pt idx="53">
                  <c:v>0.35</c:v>
                </c:pt>
                <c:pt idx="54">
                  <c:v>0.35</c:v>
                </c:pt>
                <c:pt idx="55">
                  <c:v>0.35</c:v>
                </c:pt>
                <c:pt idx="56">
                  <c:v>0.35</c:v>
                </c:pt>
                <c:pt idx="57">
                  <c:v>0.35</c:v>
                </c:pt>
                <c:pt idx="58">
                  <c:v>0.35</c:v>
                </c:pt>
                <c:pt idx="59">
                  <c:v>0.35</c:v>
                </c:pt>
                <c:pt idx="60">
                  <c:v>0.35</c:v>
                </c:pt>
                <c:pt idx="61">
                  <c:v>0.35</c:v>
                </c:pt>
                <c:pt idx="62">
                  <c:v>0.35</c:v>
                </c:pt>
                <c:pt idx="63">
                  <c:v>0.35</c:v>
                </c:pt>
                <c:pt idx="64">
                  <c:v>0.35</c:v>
                </c:pt>
                <c:pt idx="65">
                  <c:v>0.35</c:v>
                </c:pt>
                <c:pt idx="66">
                  <c:v>0.35</c:v>
                </c:pt>
                <c:pt idx="67">
                  <c:v>0.35</c:v>
                </c:pt>
                <c:pt idx="68">
                  <c:v>0.35</c:v>
                </c:pt>
                <c:pt idx="69">
                  <c:v>0.35</c:v>
                </c:pt>
                <c:pt idx="70">
                  <c:v>0.35</c:v>
                </c:pt>
                <c:pt idx="71">
                  <c:v>0.35</c:v>
                </c:pt>
                <c:pt idx="72">
                  <c:v>0.35</c:v>
                </c:pt>
                <c:pt idx="73">
                  <c:v>0.35</c:v>
                </c:pt>
                <c:pt idx="74">
                  <c:v>0.35</c:v>
                </c:pt>
                <c:pt idx="75">
                  <c:v>0.35</c:v>
                </c:pt>
                <c:pt idx="76">
                  <c:v>0.35</c:v>
                </c:pt>
                <c:pt idx="77">
                  <c:v>0.35</c:v>
                </c:pt>
                <c:pt idx="78">
                  <c:v>0.35</c:v>
                </c:pt>
                <c:pt idx="79">
                  <c:v>0.35</c:v>
                </c:pt>
                <c:pt idx="80">
                  <c:v>0.35</c:v>
                </c:pt>
                <c:pt idx="81">
                  <c:v>0.35</c:v>
                </c:pt>
                <c:pt idx="82">
                  <c:v>0.35</c:v>
                </c:pt>
                <c:pt idx="83">
                  <c:v>0.35</c:v>
                </c:pt>
                <c:pt idx="84">
                  <c:v>0.35</c:v>
                </c:pt>
                <c:pt idx="85">
                  <c:v>0.35</c:v>
                </c:pt>
                <c:pt idx="86">
                  <c:v>0.35</c:v>
                </c:pt>
                <c:pt idx="87">
                  <c:v>0.35</c:v>
                </c:pt>
                <c:pt idx="88">
                  <c:v>0.35</c:v>
                </c:pt>
                <c:pt idx="89">
                  <c:v>0.35</c:v>
                </c:pt>
                <c:pt idx="90">
                  <c:v>0.35</c:v>
                </c:pt>
                <c:pt idx="91">
                  <c:v>0.35</c:v>
                </c:pt>
                <c:pt idx="92">
                  <c:v>0.35</c:v>
                </c:pt>
                <c:pt idx="93">
                  <c:v>0.35</c:v>
                </c:pt>
                <c:pt idx="94">
                  <c:v>0.35</c:v>
                </c:pt>
                <c:pt idx="95">
                  <c:v>0.35</c:v>
                </c:pt>
                <c:pt idx="96">
                  <c:v>0.35</c:v>
                </c:pt>
                <c:pt idx="97">
                  <c:v>0.35</c:v>
                </c:pt>
                <c:pt idx="98">
                  <c:v>0.35</c:v>
                </c:pt>
                <c:pt idx="99">
                  <c:v>0.35</c:v>
                </c:pt>
                <c:pt idx="100">
                  <c:v>0.35</c:v>
                </c:pt>
                <c:pt idx="101">
                  <c:v>0.35</c:v>
                </c:pt>
                <c:pt idx="102">
                  <c:v>0.35</c:v>
                </c:pt>
                <c:pt idx="103">
                  <c:v>0.35</c:v>
                </c:pt>
                <c:pt idx="104">
                  <c:v>0.35</c:v>
                </c:pt>
                <c:pt idx="105">
                  <c:v>0.35</c:v>
                </c:pt>
                <c:pt idx="106">
                  <c:v>0.35</c:v>
                </c:pt>
                <c:pt idx="107">
                  <c:v>0.35</c:v>
                </c:pt>
                <c:pt idx="108">
                  <c:v>0.35</c:v>
                </c:pt>
                <c:pt idx="109">
                  <c:v>0.35</c:v>
                </c:pt>
                <c:pt idx="110">
                  <c:v>0.35</c:v>
                </c:pt>
                <c:pt idx="111">
                  <c:v>0.35</c:v>
                </c:pt>
                <c:pt idx="112">
                  <c:v>0.35</c:v>
                </c:pt>
                <c:pt idx="113">
                  <c:v>0.35</c:v>
                </c:pt>
                <c:pt idx="114">
                  <c:v>0.35</c:v>
                </c:pt>
                <c:pt idx="115">
                  <c:v>0.35</c:v>
                </c:pt>
                <c:pt idx="116">
                  <c:v>0.35</c:v>
                </c:pt>
                <c:pt idx="117">
                  <c:v>0.35</c:v>
                </c:pt>
                <c:pt idx="118">
                  <c:v>0.35</c:v>
                </c:pt>
                <c:pt idx="119">
                  <c:v>0.35</c:v>
                </c:pt>
                <c:pt idx="120">
                  <c:v>0.35</c:v>
                </c:pt>
                <c:pt idx="121">
                  <c:v>0.35</c:v>
                </c:pt>
                <c:pt idx="122">
                  <c:v>0.35</c:v>
                </c:pt>
                <c:pt idx="123">
                  <c:v>0.35</c:v>
                </c:pt>
                <c:pt idx="124">
                  <c:v>0.35</c:v>
                </c:pt>
                <c:pt idx="125">
                  <c:v>0.35</c:v>
                </c:pt>
                <c:pt idx="126">
                  <c:v>0.35</c:v>
                </c:pt>
                <c:pt idx="127">
                  <c:v>0.35</c:v>
                </c:pt>
                <c:pt idx="128">
                  <c:v>0.35</c:v>
                </c:pt>
                <c:pt idx="129">
                  <c:v>0.35</c:v>
                </c:pt>
                <c:pt idx="130">
                  <c:v>0.35</c:v>
                </c:pt>
                <c:pt idx="131">
                  <c:v>0.35</c:v>
                </c:pt>
                <c:pt idx="132">
                  <c:v>0.35</c:v>
                </c:pt>
                <c:pt idx="133">
                  <c:v>0.35</c:v>
                </c:pt>
                <c:pt idx="134">
                  <c:v>0.35</c:v>
                </c:pt>
                <c:pt idx="135">
                  <c:v>0.35</c:v>
                </c:pt>
                <c:pt idx="136">
                  <c:v>0.35</c:v>
                </c:pt>
                <c:pt idx="137">
                  <c:v>0.35</c:v>
                </c:pt>
                <c:pt idx="138">
                  <c:v>0.35</c:v>
                </c:pt>
                <c:pt idx="139">
                  <c:v>0.35</c:v>
                </c:pt>
                <c:pt idx="140">
                  <c:v>0.35</c:v>
                </c:pt>
                <c:pt idx="141">
                  <c:v>0.35</c:v>
                </c:pt>
                <c:pt idx="142">
                  <c:v>0.35</c:v>
                </c:pt>
                <c:pt idx="143">
                  <c:v>0.35</c:v>
                </c:pt>
                <c:pt idx="144">
                  <c:v>0.35</c:v>
                </c:pt>
                <c:pt idx="145">
                  <c:v>0.35</c:v>
                </c:pt>
                <c:pt idx="146">
                  <c:v>0.35</c:v>
                </c:pt>
                <c:pt idx="147">
                  <c:v>0.35</c:v>
                </c:pt>
                <c:pt idx="148">
                  <c:v>0.35</c:v>
                </c:pt>
                <c:pt idx="149">
                  <c:v>0.35</c:v>
                </c:pt>
                <c:pt idx="150">
                  <c:v>0.35</c:v>
                </c:pt>
                <c:pt idx="151">
                  <c:v>0.35</c:v>
                </c:pt>
                <c:pt idx="152">
                  <c:v>0.35</c:v>
                </c:pt>
                <c:pt idx="153">
                  <c:v>0.35</c:v>
                </c:pt>
                <c:pt idx="154">
                  <c:v>0.35</c:v>
                </c:pt>
                <c:pt idx="155">
                  <c:v>0.35</c:v>
                </c:pt>
                <c:pt idx="156">
                  <c:v>0.35</c:v>
                </c:pt>
                <c:pt idx="157">
                  <c:v>0.35</c:v>
                </c:pt>
                <c:pt idx="158">
                  <c:v>0.35</c:v>
                </c:pt>
                <c:pt idx="159">
                  <c:v>0.35</c:v>
                </c:pt>
                <c:pt idx="160">
                  <c:v>0.35</c:v>
                </c:pt>
                <c:pt idx="161">
                  <c:v>0.35</c:v>
                </c:pt>
                <c:pt idx="162">
                  <c:v>0.35</c:v>
                </c:pt>
                <c:pt idx="163">
                  <c:v>0.35</c:v>
                </c:pt>
                <c:pt idx="164">
                  <c:v>0.35</c:v>
                </c:pt>
                <c:pt idx="165">
                  <c:v>0.35</c:v>
                </c:pt>
                <c:pt idx="166">
                  <c:v>0.35</c:v>
                </c:pt>
                <c:pt idx="167">
                  <c:v>0.35</c:v>
                </c:pt>
                <c:pt idx="168">
                  <c:v>0.35</c:v>
                </c:pt>
                <c:pt idx="169">
                  <c:v>0.35</c:v>
                </c:pt>
                <c:pt idx="170">
                  <c:v>0.35</c:v>
                </c:pt>
                <c:pt idx="171">
                  <c:v>0.35</c:v>
                </c:pt>
                <c:pt idx="172">
                  <c:v>0.35</c:v>
                </c:pt>
                <c:pt idx="173">
                  <c:v>0.35</c:v>
                </c:pt>
                <c:pt idx="174">
                  <c:v>0.35</c:v>
                </c:pt>
                <c:pt idx="175">
                  <c:v>0.35</c:v>
                </c:pt>
                <c:pt idx="176">
                  <c:v>0.35</c:v>
                </c:pt>
                <c:pt idx="177">
                  <c:v>0.35</c:v>
                </c:pt>
                <c:pt idx="178">
                  <c:v>0.35</c:v>
                </c:pt>
                <c:pt idx="179">
                  <c:v>0.35</c:v>
                </c:pt>
                <c:pt idx="180">
                  <c:v>0.35</c:v>
                </c:pt>
                <c:pt idx="181">
                  <c:v>0.35</c:v>
                </c:pt>
                <c:pt idx="182">
                  <c:v>0.35</c:v>
                </c:pt>
                <c:pt idx="183">
                  <c:v>0.35</c:v>
                </c:pt>
                <c:pt idx="184">
                  <c:v>0.35</c:v>
                </c:pt>
                <c:pt idx="185">
                  <c:v>0.35</c:v>
                </c:pt>
                <c:pt idx="186">
                  <c:v>0.35</c:v>
                </c:pt>
                <c:pt idx="187">
                  <c:v>0.35</c:v>
                </c:pt>
                <c:pt idx="188">
                  <c:v>0.35</c:v>
                </c:pt>
                <c:pt idx="189">
                  <c:v>0.35</c:v>
                </c:pt>
                <c:pt idx="190">
                  <c:v>0.35</c:v>
                </c:pt>
                <c:pt idx="191">
                  <c:v>0.35</c:v>
                </c:pt>
                <c:pt idx="192">
                  <c:v>0.35</c:v>
                </c:pt>
                <c:pt idx="193">
                  <c:v>0.35</c:v>
                </c:pt>
                <c:pt idx="194">
                  <c:v>0.35</c:v>
                </c:pt>
                <c:pt idx="195">
                  <c:v>0.35</c:v>
                </c:pt>
                <c:pt idx="196">
                  <c:v>0.35</c:v>
                </c:pt>
                <c:pt idx="197">
                  <c:v>0.35</c:v>
                </c:pt>
                <c:pt idx="198">
                  <c:v>0.35</c:v>
                </c:pt>
                <c:pt idx="199">
                  <c:v>0.35</c:v>
                </c:pt>
                <c:pt idx="200">
                  <c:v>0.35</c:v>
                </c:pt>
                <c:pt idx="201">
                  <c:v>0.35</c:v>
                </c:pt>
                <c:pt idx="202">
                  <c:v>0.35</c:v>
                </c:pt>
                <c:pt idx="203">
                  <c:v>0.35</c:v>
                </c:pt>
                <c:pt idx="204">
                  <c:v>0.35</c:v>
                </c:pt>
                <c:pt idx="205">
                  <c:v>0.35</c:v>
                </c:pt>
                <c:pt idx="206">
                  <c:v>0.35</c:v>
                </c:pt>
                <c:pt idx="207">
                  <c:v>0.35</c:v>
                </c:pt>
                <c:pt idx="208">
                  <c:v>0.35</c:v>
                </c:pt>
                <c:pt idx="209">
                  <c:v>0.35</c:v>
                </c:pt>
                <c:pt idx="210">
                  <c:v>0.35</c:v>
                </c:pt>
                <c:pt idx="211">
                  <c:v>0.35</c:v>
                </c:pt>
                <c:pt idx="212">
                  <c:v>0.35</c:v>
                </c:pt>
                <c:pt idx="213">
                  <c:v>0.35</c:v>
                </c:pt>
                <c:pt idx="214">
                  <c:v>0.35</c:v>
                </c:pt>
                <c:pt idx="215">
                  <c:v>0.35</c:v>
                </c:pt>
                <c:pt idx="216">
                  <c:v>0.35</c:v>
                </c:pt>
                <c:pt idx="217">
                  <c:v>0.35</c:v>
                </c:pt>
                <c:pt idx="218">
                  <c:v>0.35</c:v>
                </c:pt>
                <c:pt idx="219">
                  <c:v>0.35</c:v>
                </c:pt>
                <c:pt idx="220">
                  <c:v>0.35</c:v>
                </c:pt>
                <c:pt idx="221">
                  <c:v>0.35</c:v>
                </c:pt>
                <c:pt idx="222">
                  <c:v>0.35</c:v>
                </c:pt>
                <c:pt idx="223">
                  <c:v>0.35</c:v>
                </c:pt>
                <c:pt idx="224">
                  <c:v>0.35</c:v>
                </c:pt>
                <c:pt idx="225">
                  <c:v>0.35</c:v>
                </c:pt>
                <c:pt idx="226">
                  <c:v>0.35</c:v>
                </c:pt>
                <c:pt idx="227">
                  <c:v>0.35</c:v>
                </c:pt>
                <c:pt idx="228">
                  <c:v>0.35</c:v>
                </c:pt>
                <c:pt idx="229">
                  <c:v>0.35</c:v>
                </c:pt>
                <c:pt idx="230">
                  <c:v>0.35</c:v>
                </c:pt>
                <c:pt idx="231">
                  <c:v>0.35</c:v>
                </c:pt>
                <c:pt idx="232">
                  <c:v>0.35</c:v>
                </c:pt>
                <c:pt idx="233">
                  <c:v>0.35</c:v>
                </c:pt>
                <c:pt idx="234">
                  <c:v>0.35</c:v>
                </c:pt>
                <c:pt idx="235">
                  <c:v>0.35</c:v>
                </c:pt>
                <c:pt idx="236">
                  <c:v>0.35</c:v>
                </c:pt>
                <c:pt idx="237">
                  <c:v>0.35</c:v>
                </c:pt>
                <c:pt idx="238">
                  <c:v>0.35</c:v>
                </c:pt>
                <c:pt idx="239">
                  <c:v>0.35</c:v>
                </c:pt>
                <c:pt idx="240">
                  <c:v>0.35</c:v>
                </c:pt>
                <c:pt idx="241">
                  <c:v>0.35</c:v>
                </c:pt>
                <c:pt idx="242">
                  <c:v>0.35</c:v>
                </c:pt>
                <c:pt idx="243">
                  <c:v>0.35</c:v>
                </c:pt>
                <c:pt idx="244">
                  <c:v>0.35</c:v>
                </c:pt>
                <c:pt idx="245">
                  <c:v>0.35</c:v>
                </c:pt>
                <c:pt idx="246">
                  <c:v>0.35</c:v>
                </c:pt>
                <c:pt idx="247">
                  <c:v>0.35</c:v>
                </c:pt>
                <c:pt idx="248">
                  <c:v>0.35</c:v>
                </c:pt>
                <c:pt idx="249">
                  <c:v>0.35</c:v>
                </c:pt>
                <c:pt idx="250">
                  <c:v>0.35</c:v>
                </c:pt>
                <c:pt idx="251">
                  <c:v>0.35</c:v>
                </c:pt>
                <c:pt idx="252">
                  <c:v>0.35</c:v>
                </c:pt>
                <c:pt idx="253">
                  <c:v>0.35</c:v>
                </c:pt>
                <c:pt idx="254">
                  <c:v>0.35</c:v>
                </c:pt>
                <c:pt idx="255">
                  <c:v>0.35</c:v>
                </c:pt>
                <c:pt idx="256">
                  <c:v>0.35</c:v>
                </c:pt>
                <c:pt idx="257">
                  <c:v>0.35</c:v>
                </c:pt>
                <c:pt idx="258">
                  <c:v>0.35</c:v>
                </c:pt>
                <c:pt idx="259">
                  <c:v>0.35</c:v>
                </c:pt>
                <c:pt idx="260">
                  <c:v>0.35</c:v>
                </c:pt>
                <c:pt idx="261">
                  <c:v>0.35</c:v>
                </c:pt>
                <c:pt idx="262">
                  <c:v>0.35</c:v>
                </c:pt>
                <c:pt idx="263">
                  <c:v>0.35</c:v>
                </c:pt>
                <c:pt idx="264">
                  <c:v>0.35</c:v>
                </c:pt>
                <c:pt idx="265">
                  <c:v>0.35</c:v>
                </c:pt>
                <c:pt idx="266">
                  <c:v>0.35</c:v>
                </c:pt>
                <c:pt idx="267">
                  <c:v>0.35</c:v>
                </c:pt>
                <c:pt idx="268">
                  <c:v>0.35</c:v>
                </c:pt>
                <c:pt idx="269">
                  <c:v>0.35</c:v>
                </c:pt>
                <c:pt idx="270">
                  <c:v>0.35</c:v>
                </c:pt>
                <c:pt idx="271">
                  <c:v>0.35</c:v>
                </c:pt>
                <c:pt idx="272">
                  <c:v>0.35</c:v>
                </c:pt>
                <c:pt idx="273">
                  <c:v>0.35</c:v>
                </c:pt>
                <c:pt idx="274">
                  <c:v>0.35</c:v>
                </c:pt>
                <c:pt idx="275">
                  <c:v>0.35</c:v>
                </c:pt>
                <c:pt idx="276">
                  <c:v>0.35</c:v>
                </c:pt>
                <c:pt idx="277">
                  <c:v>0.35</c:v>
                </c:pt>
                <c:pt idx="278">
                  <c:v>0.35</c:v>
                </c:pt>
                <c:pt idx="279">
                  <c:v>0.35</c:v>
                </c:pt>
                <c:pt idx="280">
                  <c:v>0.35</c:v>
                </c:pt>
                <c:pt idx="281">
                  <c:v>0.35</c:v>
                </c:pt>
                <c:pt idx="282">
                  <c:v>0.35</c:v>
                </c:pt>
                <c:pt idx="283">
                  <c:v>0.35</c:v>
                </c:pt>
                <c:pt idx="284">
                  <c:v>0.35</c:v>
                </c:pt>
                <c:pt idx="285">
                  <c:v>0.35</c:v>
                </c:pt>
                <c:pt idx="286">
                  <c:v>0.35</c:v>
                </c:pt>
                <c:pt idx="287">
                  <c:v>0.35</c:v>
                </c:pt>
                <c:pt idx="288">
                  <c:v>0.35</c:v>
                </c:pt>
                <c:pt idx="289">
                  <c:v>0.35</c:v>
                </c:pt>
                <c:pt idx="290">
                  <c:v>0.35</c:v>
                </c:pt>
                <c:pt idx="291">
                  <c:v>0.35</c:v>
                </c:pt>
                <c:pt idx="292">
                  <c:v>0.35</c:v>
                </c:pt>
                <c:pt idx="293">
                  <c:v>0.35</c:v>
                </c:pt>
                <c:pt idx="294">
                  <c:v>0.35</c:v>
                </c:pt>
                <c:pt idx="295">
                  <c:v>0.35</c:v>
                </c:pt>
                <c:pt idx="296">
                  <c:v>0.35</c:v>
                </c:pt>
                <c:pt idx="297">
                  <c:v>0.35</c:v>
                </c:pt>
                <c:pt idx="298">
                  <c:v>0.35</c:v>
                </c:pt>
                <c:pt idx="299">
                  <c:v>0.35</c:v>
                </c:pt>
                <c:pt idx="300">
                  <c:v>0.35</c:v>
                </c:pt>
                <c:pt idx="301">
                  <c:v>0.35</c:v>
                </c:pt>
                <c:pt idx="302">
                  <c:v>0.35</c:v>
                </c:pt>
                <c:pt idx="303">
                  <c:v>0.35</c:v>
                </c:pt>
                <c:pt idx="304">
                  <c:v>0.35</c:v>
                </c:pt>
                <c:pt idx="305">
                  <c:v>0.35</c:v>
                </c:pt>
                <c:pt idx="306">
                  <c:v>0.35</c:v>
                </c:pt>
                <c:pt idx="307">
                  <c:v>0.35</c:v>
                </c:pt>
                <c:pt idx="308">
                  <c:v>0.35</c:v>
                </c:pt>
                <c:pt idx="309">
                  <c:v>0.35</c:v>
                </c:pt>
                <c:pt idx="310">
                  <c:v>0.35</c:v>
                </c:pt>
                <c:pt idx="311">
                  <c:v>0.35</c:v>
                </c:pt>
                <c:pt idx="312">
                  <c:v>0.35</c:v>
                </c:pt>
                <c:pt idx="313">
                  <c:v>0.35</c:v>
                </c:pt>
                <c:pt idx="314">
                  <c:v>0.35</c:v>
                </c:pt>
                <c:pt idx="315">
                  <c:v>0.35</c:v>
                </c:pt>
                <c:pt idx="316">
                  <c:v>0.35</c:v>
                </c:pt>
                <c:pt idx="317">
                  <c:v>0.35</c:v>
                </c:pt>
                <c:pt idx="318">
                  <c:v>0.35</c:v>
                </c:pt>
                <c:pt idx="319">
                  <c:v>0.35</c:v>
                </c:pt>
                <c:pt idx="320">
                  <c:v>0.35</c:v>
                </c:pt>
                <c:pt idx="321">
                  <c:v>0.35</c:v>
                </c:pt>
                <c:pt idx="322">
                  <c:v>0.35</c:v>
                </c:pt>
                <c:pt idx="323">
                  <c:v>0.35</c:v>
                </c:pt>
                <c:pt idx="324">
                  <c:v>0.35</c:v>
                </c:pt>
                <c:pt idx="325">
                  <c:v>0.35</c:v>
                </c:pt>
                <c:pt idx="326">
                  <c:v>0.35</c:v>
                </c:pt>
                <c:pt idx="327">
                  <c:v>0.35</c:v>
                </c:pt>
                <c:pt idx="328">
                  <c:v>0.35</c:v>
                </c:pt>
                <c:pt idx="329">
                  <c:v>0.35</c:v>
                </c:pt>
                <c:pt idx="330">
                  <c:v>0.35</c:v>
                </c:pt>
                <c:pt idx="331">
                  <c:v>0.35</c:v>
                </c:pt>
                <c:pt idx="332">
                  <c:v>0.35</c:v>
                </c:pt>
                <c:pt idx="333">
                  <c:v>0.35</c:v>
                </c:pt>
                <c:pt idx="334">
                  <c:v>0.35</c:v>
                </c:pt>
                <c:pt idx="335">
                  <c:v>0.35</c:v>
                </c:pt>
                <c:pt idx="336">
                  <c:v>0.35</c:v>
                </c:pt>
                <c:pt idx="337">
                  <c:v>0.35</c:v>
                </c:pt>
                <c:pt idx="338">
                  <c:v>0.35</c:v>
                </c:pt>
                <c:pt idx="339">
                  <c:v>0.35</c:v>
                </c:pt>
                <c:pt idx="340">
                  <c:v>0.35</c:v>
                </c:pt>
                <c:pt idx="341">
                  <c:v>0.35</c:v>
                </c:pt>
                <c:pt idx="342">
                  <c:v>0.35</c:v>
                </c:pt>
                <c:pt idx="343">
                  <c:v>0.35</c:v>
                </c:pt>
                <c:pt idx="344">
                  <c:v>0.35</c:v>
                </c:pt>
                <c:pt idx="345">
                  <c:v>0.35</c:v>
                </c:pt>
                <c:pt idx="346">
                  <c:v>0.35</c:v>
                </c:pt>
                <c:pt idx="347">
                  <c:v>0.35</c:v>
                </c:pt>
                <c:pt idx="348">
                  <c:v>0.35</c:v>
                </c:pt>
                <c:pt idx="349">
                  <c:v>0.35</c:v>
                </c:pt>
                <c:pt idx="350">
                  <c:v>0.35</c:v>
                </c:pt>
                <c:pt idx="351">
                  <c:v>0.35</c:v>
                </c:pt>
                <c:pt idx="352">
                  <c:v>0.35</c:v>
                </c:pt>
                <c:pt idx="353">
                  <c:v>0.35</c:v>
                </c:pt>
                <c:pt idx="354">
                  <c:v>0.35</c:v>
                </c:pt>
                <c:pt idx="355">
                  <c:v>0.35</c:v>
                </c:pt>
                <c:pt idx="356">
                  <c:v>0.35</c:v>
                </c:pt>
                <c:pt idx="357">
                  <c:v>0.35</c:v>
                </c:pt>
                <c:pt idx="358">
                  <c:v>0.35</c:v>
                </c:pt>
                <c:pt idx="359">
                  <c:v>0.35</c:v>
                </c:pt>
                <c:pt idx="360">
                  <c:v>0.35</c:v>
                </c:pt>
                <c:pt idx="361">
                  <c:v>0.35</c:v>
                </c:pt>
                <c:pt idx="362">
                  <c:v>0.35</c:v>
                </c:pt>
                <c:pt idx="363">
                  <c:v>0.35</c:v>
                </c:pt>
                <c:pt idx="364">
                  <c:v>0.35</c:v>
                </c:pt>
                <c:pt idx="365">
                  <c:v>0.35</c:v>
                </c:pt>
                <c:pt idx="366">
                  <c:v>0.35</c:v>
                </c:pt>
                <c:pt idx="367">
                  <c:v>0.35</c:v>
                </c:pt>
                <c:pt idx="368">
                  <c:v>0.35</c:v>
                </c:pt>
                <c:pt idx="369">
                  <c:v>0.35</c:v>
                </c:pt>
                <c:pt idx="370">
                  <c:v>0.35</c:v>
                </c:pt>
                <c:pt idx="371">
                  <c:v>0.35</c:v>
                </c:pt>
                <c:pt idx="372">
                  <c:v>0.35</c:v>
                </c:pt>
                <c:pt idx="373">
                  <c:v>0.35</c:v>
                </c:pt>
                <c:pt idx="374">
                  <c:v>0.35</c:v>
                </c:pt>
                <c:pt idx="375">
                  <c:v>0.35</c:v>
                </c:pt>
                <c:pt idx="376">
                  <c:v>0.35</c:v>
                </c:pt>
                <c:pt idx="377">
                  <c:v>0.35</c:v>
                </c:pt>
                <c:pt idx="378">
                  <c:v>0.35</c:v>
                </c:pt>
                <c:pt idx="379">
                  <c:v>0.35</c:v>
                </c:pt>
                <c:pt idx="380">
                  <c:v>0.35</c:v>
                </c:pt>
                <c:pt idx="381">
                  <c:v>0.35</c:v>
                </c:pt>
                <c:pt idx="382">
                  <c:v>0.35</c:v>
                </c:pt>
                <c:pt idx="383">
                  <c:v>0.35</c:v>
                </c:pt>
                <c:pt idx="384">
                  <c:v>0.35</c:v>
                </c:pt>
                <c:pt idx="385">
                  <c:v>0.35</c:v>
                </c:pt>
                <c:pt idx="386">
                  <c:v>0.35</c:v>
                </c:pt>
                <c:pt idx="387">
                  <c:v>0.35</c:v>
                </c:pt>
                <c:pt idx="388">
                  <c:v>0.35</c:v>
                </c:pt>
                <c:pt idx="389">
                  <c:v>0.35</c:v>
                </c:pt>
                <c:pt idx="390">
                  <c:v>0.35</c:v>
                </c:pt>
                <c:pt idx="391">
                  <c:v>0.35</c:v>
                </c:pt>
                <c:pt idx="392">
                  <c:v>0.35</c:v>
                </c:pt>
                <c:pt idx="393">
                  <c:v>0.35</c:v>
                </c:pt>
                <c:pt idx="394">
                  <c:v>0.35</c:v>
                </c:pt>
                <c:pt idx="395">
                  <c:v>0.35</c:v>
                </c:pt>
                <c:pt idx="396">
                  <c:v>0.35</c:v>
                </c:pt>
                <c:pt idx="397">
                  <c:v>0.35</c:v>
                </c:pt>
                <c:pt idx="398">
                  <c:v>0.35</c:v>
                </c:pt>
                <c:pt idx="399">
                  <c:v>0.35</c:v>
                </c:pt>
                <c:pt idx="400">
                  <c:v>0.35</c:v>
                </c:pt>
                <c:pt idx="401">
                  <c:v>0.35</c:v>
                </c:pt>
                <c:pt idx="402">
                  <c:v>0.35</c:v>
                </c:pt>
                <c:pt idx="403">
                  <c:v>0.35</c:v>
                </c:pt>
                <c:pt idx="404">
                  <c:v>0.35</c:v>
                </c:pt>
                <c:pt idx="405">
                  <c:v>0.35</c:v>
                </c:pt>
                <c:pt idx="406">
                  <c:v>0.35</c:v>
                </c:pt>
                <c:pt idx="407">
                  <c:v>0.35</c:v>
                </c:pt>
                <c:pt idx="408">
                  <c:v>0.35</c:v>
                </c:pt>
                <c:pt idx="409">
                  <c:v>0.35</c:v>
                </c:pt>
                <c:pt idx="410">
                  <c:v>0.35</c:v>
                </c:pt>
                <c:pt idx="411">
                  <c:v>0.35</c:v>
                </c:pt>
                <c:pt idx="412">
                  <c:v>0.35</c:v>
                </c:pt>
                <c:pt idx="413">
                  <c:v>0.35</c:v>
                </c:pt>
                <c:pt idx="414">
                  <c:v>0.35</c:v>
                </c:pt>
                <c:pt idx="415">
                  <c:v>0.35</c:v>
                </c:pt>
                <c:pt idx="416">
                  <c:v>0.35</c:v>
                </c:pt>
                <c:pt idx="417">
                  <c:v>0.35</c:v>
                </c:pt>
                <c:pt idx="418">
                  <c:v>0.35</c:v>
                </c:pt>
                <c:pt idx="419">
                  <c:v>0.35</c:v>
                </c:pt>
                <c:pt idx="420">
                  <c:v>0.35</c:v>
                </c:pt>
                <c:pt idx="421">
                  <c:v>0.35</c:v>
                </c:pt>
                <c:pt idx="422">
                  <c:v>0.35</c:v>
                </c:pt>
                <c:pt idx="423">
                  <c:v>0.35</c:v>
                </c:pt>
                <c:pt idx="424">
                  <c:v>0.35</c:v>
                </c:pt>
                <c:pt idx="425">
                  <c:v>0.35</c:v>
                </c:pt>
                <c:pt idx="426">
                  <c:v>0.35</c:v>
                </c:pt>
                <c:pt idx="427">
                  <c:v>0.35</c:v>
                </c:pt>
                <c:pt idx="428">
                  <c:v>0.35</c:v>
                </c:pt>
                <c:pt idx="429">
                  <c:v>0.35</c:v>
                </c:pt>
                <c:pt idx="430">
                  <c:v>0.35</c:v>
                </c:pt>
                <c:pt idx="431">
                  <c:v>0.35</c:v>
                </c:pt>
                <c:pt idx="432">
                  <c:v>0.35</c:v>
                </c:pt>
                <c:pt idx="433">
                  <c:v>0.35</c:v>
                </c:pt>
                <c:pt idx="434">
                  <c:v>0.35</c:v>
                </c:pt>
                <c:pt idx="435">
                  <c:v>0.35</c:v>
                </c:pt>
                <c:pt idx="436">
                  <c:v>0.35</c:v>
                </c:pt>
                <c:pt idx="437">
                  <c:v>0.35</c:v>
                </c:pt>
                <c:pt idx="438">
                  <c:v>0.35</c:v>
                </c:pt>
                <c:pt idx="439">
                  <c:v>0.35</c:v>
                </c:pt>
                <c:pt idx="440">
                  <c:v>0.35</c:v>
                </c:pt>
                <c:pt idx="441">
                  <c:v>0.35</c:v>
                </c:pt>
                <c:pt idx="442">
                  <c:v>0.35</c:v>
                </c:pt>
                <c:pt idx="443">
                  <c:v>0.35</c:v>
                </c:pt>
                <c:pt idx="444">
                  <c:v>0.35</c:v>
                </c:pt>
                <c:pt idx="445">
                  <c:v>0.35</c:v>
                </c:pt>
                <c:pt idx="446">
                  <c:v>0.35</c:v>
                </c:pt>
                <c:pt idx="447">
                  <c:v>0.35</c:v>
                </c:pt>
                <c:pt idx="448">
                  <c:v>0.35</c:v>
                </c:pt>
                <c:pt idx="449">
                  <c:v>0.35</c:v>
                </c:pt>
                <c:pt idx="450">
                  <c:v>0.35</c:v>
                </c:pt>
                <c:pt idx="451">
                  <c:v>0.35</c:v>
                </c:pt>
                <c:pt idx="452">
                  <c:v>0.35</c:v>
                </c:pt>
                <c:pt idx="453">
                  <c:v>0.35</c:v>
                </c:pt>
                <c:pt idx="454">
                  <c:v>0.35</c:v>
                </c:pt>
                <c:pt idx="455">
                  <c:v>0.35</c:v>
                </c:pt>
                <c:pt idx="456">
                  <c:v>0.35</c:v>
                </c:pt>
                <c:pt idx="457">
                  <c:v>0.35</c:v>
                </c:pt>
                <c:pt idx="458">
                  <c:v>0.35</c:v>
                </c:pt>
                <c:pt idx="459">
                  <c:v>0.35</c:v>
                </c:pt>
                <c:pt idx="460">
                  <c:v>0.35</c:v>
                </c:pt>
                <c:pt idx="461">
                  <c:v>0.35</c:v>
                </c:pt>
                <c:pt idx="462">
                  <c:v>0.35</c:v>
                </c:pt>
                <c:pt idx="463">
                  <c:v>0.35</c:v>
                </c:pt>
                <c:pt idx="464">
                  <c:v>0.35</c:v>
                </c:pt>
                <c:pt idx="465">
                  <c:v>0.35</c:v>
                </c:pt>
                <c:pt idx="466">
                  <c:v>0.35</c:v>
                </c:pt>
                <c:pt idx="467">
                  <c:v>0.35</c:v>
                </c:pt>
                <c:pt idx="468">
                  <c:v>0.35</c:v>
                </c:pt>
                <c:pt idx="469">
                  <c:v>0.35</c:v>
                </c:pt>
                <c:pt idx="470">
                  <c:v>0.35</c:v>
                </c:pt>
                <c:pt idx="471">
                  <c:v>0.35</c:v>
                </c:pt>
                <c:pt idx="472">
                  <c:v>0.35</c:v>
                </c:pt>
                <c:pt idx="473">
                  <c:v>0.35</c:v>
                </c:pt>
                <c:pt idx="474">
                  <c:v>0.35</c:v>
                </c:pt>
                <c:pt idx="475">
                  <c:v>0.35</c:v>
                </c:pt>
                <c:pt idx="476">
                  <c:v>0.35</c:v>
                </c:pt>
                <c:pt idx="477">
                  <c:v>0.35</c:v>
                </c:pt>
                <c:pt idx="478">
                  <c:v>0.35</c:v>
                </c:pt>
                <c:pt idx="479">
                  <c:v>0.35</c:v>
                </c:pt>
                <c:pt idx="480">
                  <c:v>0.35</c:v>
                </c:pt>
                <c:pt idx="481">
                  <c:v>0.35</c:v>
                </c:pt>
                <c:pt idx="482">
                  <c:v>0.35</c:v>
                </c:pt>
                <c:pt idx="483">
                  <c:v>0.35</c:v>
                </c:pt>
                <c:pt idx="484">
                  <c:v>0.35</c:v>
                </c:pt>
                <c:pt idx="485">
                  <c:v>0.35</c:v>
                </c:pt>
                <c:pt idx="486">
                  <c:v>0.35</c:v>
                </c:pt>
                <c:pt idx="487">
                  <c:v>0.35</c:v>
                </c:pt>
                <c:pt idx="488">
                  <c:v>0.35</c:v>
                </c:pt>
                <c:pt idx="489">
                  <c:v>0.35</c:v>
                </c:pt>
                <c:pt idx="490">
                  <c:v>0.35</c:v>
                </c:pt>
                <c:pt idx="491">
                  <c:v>0.35</c:v>
                </c:pt>
                <c:pt idx="492">
                  <c:v>0.35</c:v>
                </c:pt>
                <c:pt idx="493">
                  <c:v>0.35</c:v>
                </c:pt>
                <c:pt idx="494">
                  <c:v>0.35</c:v>
                </c:pt>
                <c:pt idx="495">
                  <c:v>0.35</c:v>
                </c:pt>
                <c:pt idx="496">
                  <c:v>0.35</c:v>
                </c:pt>
                <c:pt idx="497">
                  <c:v>0.35</c:v>
                </c:pt>
                <c:pt idx="498">
                  <c:v>0.35</c:v>
                </c:pt>
                <c:pt idx="499">
                  <c:v>0.35</c:v>
                </c:pt>
                <c:pt idx="500">
                  <c:v>0.35</c:v>
                </c:pt>
                <c:pt idx="501">
                  <c:v>0.35</c:v>
                </c:pt>
                <c:pt idx="502">
                  <c:v>0.35</c:v>
                </c:pt>
                <c:pt idx="503">
                  <c:v>0.35</c:v>
                </c:pt>
                <c:pt idx="504">
                  <c:v>0.35</c:v>
                </c:pt>
                <c:pt idx="505">
                  <c:v>0.35</c:v>
                </c:pt>
                <c:pt idx="506">
                  <c:v>0.35</c:v>
                </c:pt>
                <c:pt idx="507">
                  <c:v>0.35</c:v>
                </c:pt>
                <c:pt idx="508">
                  <c:v>0.35</c:v>
                </c:pt>
                <c:pt idx="509">
                  <c:v>0.35</c:v>
                </c:pt>
                <c:pt idx="510">
                  <c:v>0.35</c:v>
                </c:pt>
                <c:pt idx="511">
                  <c:v>0.35</c:v>
                </c:pt>
                <c:pt idx="512">
                  <c:v>0.35</c:v>
                </c:pt>
                <c:pt idx="513">
                  <c:v>0.35</c:v>
                </c:pt>
                <c:pt idx="514">
                  <c:v>0.35</c:v>
                </c:pt>
                <c:pt idx="515">
                  <c:v>0.35</c:v>
                </c:pt>
                <c:pt idx="516">
                  <c:v>0.35</c:v>
                </c:pt>
                <c:pt idx="517">
                  <c:v>0.35</c:v>
                </c:pt>
                <c:pt idx="518">
                  <c:v>0.35</c:v>
                </c:pt>
                <c:pt idx="519">
                  <c:v>0.35</c:v>
                </c:pt>
                <c:pt idx="520">
                  <c:v>0.35</c:v>
                </c:pt>
                <c:pt idx="521">
                  <c:v>0.35</c:v>
                </c:pt>
                <c:pt idx="522">
                  <c:v>0.35</c:v>
                </c:pt>
                <c:pt idx="523">
                  <c:v>0.35</c:v>
                </c:pt>
                <c:pt idx="524">
                  <c:v>0.35</c:v>
                </c:pt>
                <c:pt idx="525">
                  <c:v>0.35</c:v>
                </c:pt>
                <c:pt idx="526">
                  <c:v>0.35</c:v>
                </c:pt>
                <c:pt idx="527">
                  <c:v>0.35</c:v>
                </c:pt>
                <c:pt idx="528">
                  <c:v>0.35</c:v>
                </c:pt>
                <c:pt idx="529">
                  <c:v>0.35</c:v>
                </c:pt>
                <c:pt idx="530">
                  <c:v>0.35</c:v>
                </c:pt>
                <c:pt idx="531">
                  <c:v>0.35</c:v>
                </c:pt>
                <c:pt idx="532">
                  <c:v>0.35</c:v>
                </c:pt>
                <c:pt idx="533">
                  <c:v>0.35</c:v>
                </c:pt>
                <c:pt idx="534">
                  <c:v>0.35</c:v>
                </c:pt>
                <c:pt idx="535">
                  <c:v>0.35</c:v>
                </c:pt>
                <c:pt idx="536">
                  <c:v>0.35</c:v>
                </c:pt>
                <c:pt idx="537">
                  <c:v>0.35</c:v>
                </c:pt>
                <c:pt idx="538">
                  <c:v>0.35</c:v>
                </c:pt>
                <c:pt idx="539">
                  <c:v>0.35</c:v>
                </c:pt>
                <c:pt idx="540">
                  <c:v>0.35</c:v>
                </c:pt>
                <c:pt idx="541">
                  <c:v>0.35</c:v>
                </c:pt>
                <c:pt idx="542">
                  <c:v>0.35</c:v>
                </c:pt>
                <c:pt idx="543">
                  <c:v>0.35</c:v>
                </c:pt>
                <c:pt idx="544">
                  <c:v>0.35</c:v>
                </c:pt>
                <c:pt idx="545">
                  <c:v>0.35</c:v>
                </c:pt>
                <c:pt idx="546">
                  <c:v>0.35</c:v>
                </c:pt>
                <c:pt idx="547">
                  <c:v>0.35</c:v>
                </c:pt>
                <c:pt idx="548">
                  <c:v>0.35</c:v>
                </c:pt>
                <c:pt idx="549">
                  <c:v>0.35</c:v>
                </c:pt>
                <c:pt idx="550">
                  <c:v>0.35</c:v>
                </c:pt>
                <c:pt idx="551">
                  <c:v>0.35</c:v>
                </c:pt>
                <c:pt idx="552">
                  <c:v>0.35</c:v>
                </c:pt>
                <c:pt idx="553">
                  <c:v>0.35</c:v>
                </c:pt>
                <c:pt idx="554">
                  <c:v>0.35</c:v>
                </c:pt>
                <c:pt idx="555">
                  <c:v>0.35</c:v>
                </c:pt>
                <c:pt idx="556">
                  <c:v>0.35</c:v>
                </c:pt>
                <c:pt idx="557">
                  <c:v>0.35</c:v>
                </c:pt>
                <c:pt idx="558">
                  <c:v>0.35</c:v>
                </c:pt>
                <c:pt idx="559">
                  <c:v>0.35</c:v>
                </c:pt>
                <c:pt idx="560">
                  <c:v>0.35</c:v>
                </c:pt>
                <c:pt idx="561">
                  <c:v>0.35</c:v>
                </c:pt>
                <c:pt idx="562">
                  <c:v>0.35</c:v>
                </c:pt>
                <c:pt idx="563">
                  <c:v>0.35</c:v>
                </c:pt>
                <c:pt idx="564">
                  <c:v>0.35</c:v>
                </c:pt>
                <c:pt idx="565">
                  <c:v>0.35</c:v>
                </c:pt>
                <c:pt idx="566">
                  <c:v>0.35</c:v>
                </c:pt>
                <c:pt idx="567">
                  <c:v>0.35</c:v>
                </c:pt>
                <c:pt idx="568">
                  <c:v>0.35</c:v>
                </c:pt>
                <c:pt idx="569">
                  <c:v>0.35</c:v>
                </c:pt>
                <c:pt idx="570">
                  <c:v>0.35</c:v>
                </c:pt>
                <c:pt idx="571">
                  <c:v>0.35</c:v>
                </c:pt>
                <c:pt idx="572">
                  <c:v>0.35</c:v>
                </c:pt>
                <c:pt idx="573">
                  <c:v>0.35</c:v>
                </c:pt>
                <c:pt idx="574">
                  <c:v>0.35</c:v>
                </c:pt>
                <c:pt idx="575">
                  <c:v>0.35</c:v>
                </c:pt>
                <c:pt idx="576">
                  <c:v>0.35</c:v>
                </c:pt>
                <c:pt idx="577">
                  <c:v>0.35</c:v>
                </c:pt>
                <c:pt idx="578">
                  <c:v>0.35</c:v>
                </c:pt>
                <c:pt idx="579">
                  <c:v>0.35</c:v>
                </c:pt>
                <c:pt idx="580">
                  <c:v>0.35</c:v>
                </c:pt>
                <c:pt idx="581">
                  <c:v>0.35</c:v>
                </c:pt>
                <c:pt idx="582">
                  <c:v>0.35</c:v>
                </c:pt>
                <c:pt idx="583">
                  <c:v>0.35</c:v>
                </c:pt>
                <c:pt idx="584">
                  <c:v>0.35</c:v>
                </c:pt>
                <c:pt idx="585">
                  <c:v>0.35</c:v>
                </c:pt>
                <c:pt idx="586">
                  <c:v>0.35</c:v>
                </c:pt>
                <c:pt idx="587">
                  <c:v>0.35</c:v>
                </c:pt>
                <c:pt idx="588">
                  <c:v>0.35</c:v>
                </c:pt>
                <c:pt idx="589">
                  <c:v>0.35</c:v>
                </c:pt>
                <c:pt idx="590">
                  <c:v>0.35</c:v>
                </c:pt>
                <c:pt idx="591">
                  <c:v>0.35</c:v>
                </c:pt>
                <c:pt idx="592">
                  <c:v>0.35</c:v>
                </c:pt>
                <c:pt idx="593">
                  <c:v>0.35</c:v>
                </c:pt>
                <c:pt idx="594">
                  <c:v>0.35</c:v>
                </c:pt>
                <c:pt idx="595">
                  <c:v>0.35</c:v>
                </c:pt>
                <c:pt idx="596">
                  <c:v>0.35</c:v>
                </c:pt>
                <c:pt idx="597">
                  <c:v>0.35</c:v>
                </c:pt>
                <c:pt idx="598">
                  <c:v>0.35</c:v>
                </c:pt>
                <c:pt idx="599">
                  <c:v>0.35</c:v>
                </c:pt>
                <c:pt idx="600">
                  <c:v>0.35</c:v>
                </c:pt>
                <c:pt idx="601">
                  <c:v>0.35</c:v>
                </c:pt>
                <c:pt idx="602">
                  <c:v>0.35</c:v>
                </c:pt>
                <c:pt idx="603">
                  <c:v>0.35</c:v>
                </c:pt>
                <c:pt idx="604">
                  <c:v>0.35</c:v>
                </c:pt>
                <c:pt idx="605">
                  <c:v>0.35</c:v>
                </c:pt>
                <c:pt idx="606">
                  <c:v>0.35</c:v>
                </c:pt>
                <c:pt idx="607">
                  <c:v>0.35</c:v>
                </c:pt>
                <c:pt idx="608">
                  <c:v>0.35</c:v>
                </c:pt>
                <c:pt idx="609">
                  <c:v>0.35</c:v>
                </c:pt>
                <c:pt idx="610">
                  <c:v>0.35</c:v>
                </c:pt>
                <c:pt idx="611">
                  <c:v>0.35</c:v>
                </c:pt>
                <c:pt idx="612">
                  <c:v>0.35</c:v>
                </c:pt>
                <c:pt idx="613">
                  <c:v>0.35</c:v>
                </c:pt>
                <c:pt idx="614">
                  <c:v>0.35</c:v>
                </c:pt>
                <c:pt idx="615">
                  <c:v>0.35</c:v>
                </c:pt>
                <c:pt idx="616">
                  <c:v>0.35</c:v>
                </c:pt>
                <c:pt idx="617">
                  <c:v>0.35</c:v>
                </c:pt>
                <c:pt idx="618">
                  <c:v>0.35</c:v>
                </c:pt>
                <c:pt idx="619">
                  <c:v>0.35</c:v>
                </c:pt>
                <c:pt idx="620">
                  <c:v>0.35</c:v>
                </c:pt>
                <c:pt idx="621">
                  <c:v>0.35</c:v>
                </c:pt>
                <c:pt idx="622">
                  <c:v>0.35</c:v>
                </c:pt>
                <c:pt idx="623">
                  <c:v>0.35</c:v>
                </c:pt>
                <c:pt idx="624">
                  <c:v>0.35</c:v>
                </c:pt>
                <c:pt idx="625">
                  <c:v>0.35</c:v>
                </c:pt>
                <c:pt idx="626">
                  <c:v>0.35</c:v>
                </c:pt>
                <c:pt idx="627">
                  <c:v>0.35</c:v>
                </c:pt>
                <c:pt idx="628">
                  <c:v>0.35</c:v>
                </c:pt>
                <c:pt idx="629">
                  <c:v>0.35</c:v>
                </c:pt>
                <c:pt idx="630">
                  <c:v>0.35</c:v>
                </c:pt>
                <c:pt idx="631">
                  <c:v>0.35</c:v>
                </c:pt>
                <c:pt idx="632">
                  <c:v>0.35</c:v>
                </c:pt>
                <c:pt idx="633">
                  <c:v>0.35</c:v>
                </c:pt>
                <c:pt idx="634">
                  <c:v>0.35</c:v>
                </c:pt>
                <c:pt idx="635">
                  <c:v>0.35</c:v>
                </c:pt>
                <c:pt idx="636">
                  <c:v>0.35</c:v>
                </c:pt>
                <c:pt idx="637">
                  <c:v>0.35</c:v>
                </c:pt>
                <c:pt idx="638">
                  <c:v>0.35</c:v>
                </c:pt>
                <c:pt idx="639">
                  <c:v>0.35</c:v>
                </c:pt>
                <c:pt idx="640">
                  <c:v>0.35</c:v>
                </c:pt>
                <c:pt idx="641">
                  <c:v>0.35</c:v>
                </c:pt>
                <c:pt idx="642">
                  <c:v>0.35</c:v>
                </c:pt>
                <c:pt idx="643">
                  <c:v>0.35</c:v>
                </c:pt>
                <c:pt idx="644">
                  <c:v>0.35</c:v>
                </c:pt>
                <c:pt idx="645">
                  <c:v>0.35</c:v>
                </c:pt>
                <c:pt idx="646">
                  <c:v>0.35</c:v>
                </c:pt>
                <c:pt idx="647">
                  <c:v>0.35</c:v>
                </c:pt>
                <c:pt idx="648">
                  <c:v>0.35</c:v>
                </c:pt>
                <c:pt idx="649">
                  <c:v>0.35</c:v>
                </c:pt>
                <c:pt idx="650">
                  <c:v>0.35</c:v>
                </c:pt>
                <c:pt idx="651">
                  <c:v>0.35</c:v>
                </c:pt>
                <c:pt idx="652">
                  <c:v>0.35</c:v>
                </c:pt>
                <c:pt idx="653">
                  <c:v>0.35</c:v>
                </c:pt>
                <c:pt idx="654">
                  <c:v>0.35</c:v>
                </c:pt>
                <c:pt idx="655">
                  <c:v>0.35</c:v>
                </c:pt>
                <c:pt idx="656">
                  <c:v>0.35</c:v>
                </c:pt>
                <c:pt idx="657">
                  <c:v>0.35</c:v>
                </c:pt>
                <c:pt idx="658">
                  <c:v>0.35</c:v>
                </c:pt>
                <c:pt idx="659">
                  <c:v>0.35</c:v>
                </c:pt>
                <c:pt idx="660">
                  <c:v>0.35</c:v>
                </c:pt>
                <c:pt idx="661">
                  <c:v>0.35</c:v>
                </c:pt>
                <c:pt idx="662">
                  <c:v>0.35</c:v>
                </c:pt>
                <c:pt idx="663">
                  <c:v>0.35</c:v>
                </c:pt>
                <c:pt idx="664">
                  <c:v>0.35</c:v>
                </c:pt>
                <c:pt idx="665">
                  <c:v>0.35</c:v>
                </c:pt>
                <c:pt idx="666">
                  <c:v>0.35</c:v>
                </c:pt>
                <c:pt idx="667">
                  <c:v>0.35</c:v>
                </c:pt>
                <c:pt idx="668">
                  <c:v>0.35</c:v>
                </c:pt>
                <c:pt idx="669">
                  <c:v>0.35</c:v>
                </c:pt>
                <c:pt idx="670">
                  <c:v>0.35</c:v>
                </c:pt>
                <c:pt idx="671">
                  <c:v>0.35</c:v>
                </c:pt>
                <c:pt idx="672">
                  <c:v>0.35</c:v>
                </c:pt>
                <c:pt idx="673">
                  <c:v>0.35</c:v>
                </c:pt>
                <c:pt idx="674">
                  <c:v>0.35</c:v>
                </c:pt>
                <c:pt idx="675">
                  <c:v>0.35</c:v>
                </c:pt>
                <c:pt idx="676">
                  <c:v>0.35</c:v>
                </c:pt>
                <c:pt idx="677">
                  <c:v>0.35</c:v>
                </c:pt>
                <c:pt idx="678">
                  <c:v>0.35</c:v>
                </c:pt>
                <c:pt idx="679">
                  <c:v>0.35</c:v>
                </c:pt>
                <c:pt idx="680">
                  <c:v>0.35</c:v>
                </c:pt>
                <c:pt idx="681">
                  <c:v>0.35</c:v>
                </c:pt>
                <c:pt idx="682">
                  <c:v>0.35</c:v>
                </c:pt>
                <c:pt idx="683">
                  <c:v>0.35</c:v>
                </c:pt>
                <c:pt idx="684">
                  <c:v>0.35</c:v>
                </c:pt>
                <c:pt idx="685">
                  <c:v>0.35</c:v>
                </c:pt>
                <c:pt idx="686">
                  <c:v>0.35</c:v>
                </c:pt>
                <c:pt idx="687">
                  <c:v>0.35</c:v>
                </c:pt>
                <c:pt idx="688">
                  <c:v>0.35</c:v>
                </c:pt>
                <c:pt idx="689">
                  <c:v>0.35</c:v>
                </c:pt>
                <c:pt idx="690">
                  <c:v>0.35</c:v>
                </c:pt>
                <c:pt idx="691">
                  <c:v>0.35</c:v>
                </c:pt>
                <c:pt idx="692">
                  <c:v>0.35</c:v>
                </c:pt>
                <c:pt idx="693">
                  <c:v>0.35</c:v>
                </c:pt>
                <c:pt idx="694">
                  <c:v>0.35</c:v>
                </c:pt>
                <c:pt idx="695">
                  <c:v>0.35</c:v>
                </c:pt>
                <c:pt idx="696">
                  <c:v>0.35</c:v>
                </c:pt>
                <c:pt idx="697">
                  <c:v>0.35</c:v>
                </c:pt>
                <c:pt idx="698">
                  <c:v>0.35</c:v>
                </c:pt>
                <c:pt idx="699">
                  <c:v>0.35</c:v>
                </c:pt>
                <c:pt idx="700">
                  <c:v>0.35</c:v>
                </c:pt>
                <c:pt idx="701">
                  <c:v>0.35</c:v>
                </c:pt>
                <c:pt idx="702">
                  <c:v>0.35</c:v>
                </c:pt>
                <c:pt idx="703">
                  <c:v>0.35</c:v>
                </c:pt>
                <c:pt idx="704">
                  <c:v>0.35</c:v>
                </c:pt>
                <c:pt idx="705">
                  <c:v>0.35</c:v>
                </c:pt>
                <c:pt idx="706">
                  <c:v>0.35</c:v>
                </c:pt>
                <c:pt idx="707">
                  <c:v>0.35</c:v>
                </c:pt>
                <c:pt idx="708">
                  <c:v>0.35</c:v>
                </c:pt>
                <c:pt idx="709">
                  <c:v>0.35</c:v>
                </c:pt>
                <c:pt idx="710">
                  <c:v>0.35</c:v>
                </c:pt>
                <c:pt idx="711">
                  <c:v>0.35</c:v>
                </c:pt>
                <c:pt idx="712">
                  <c:v>0.35</c:v>
                </c:pt>
                <c:pt idx="713">
                  <c:v>0.35</c:v>
                </c:pt>
                <c:pt idx="714">
                  <c:v>0.35</c:v>
                </c:pt>
                <c:pt idx="715">
                  <c:v>0.35</c:v>
                </c:pt>
                <c:pt idx="716">
                  <c:v>0.35</c:v>
                </c:pt>
                <c:pt idx="717">
                  <c:v>0.35</c:v>
                </c:pt>
                <c:pt idx="718">
                  <c:v>0.35</c:v>
                </c:pt>
                <c:pt idx="719">
                  <c:v>0.35</c:v>
                </c:pt>
                <c:pt idx="720">
                  <c:v>0.35</c:v>
                </c:pt>
                <c:pt idx="721">
                  <c:v>0.35</c:v>
                </c:pt>
                <c:pt idx="722">
                  <c:v>0.35</c:v>
                </c:pt>
                <c:pt idx="723">
                  <c:v>0.35</c:v>
                </c:pt>
                <c:pt idx="724">
                  <c:v>0.35</c:v>
                </c:pt>
                <c:pt idx="725">
                  <c:v>0.35</c:v>
                </c:pt>
                <c:pt idx="726">
                  <c:v>0.35</c:v>
                </c:pt>
                <c:pt idx="727">
                  <c:v>0.35</c:v>
                </c:pt>
                <c:pt idx="728">
                  <c:v>0.35</c:v>
                </c:pt>
                <c:pt idx="729">
                  <c:v>0.35</c:v>
                </c:pt>
                <c:pt idx="730">
                  <c:v>0.35</c:v>
                </c:pt>
                <c:pt idx="731">
                  <c:v>0.35</c:v>
                </c:pt>
                <c:pt idx="732">
                  <c:v>0.35</c:v>
                </c:pt>
                <c:pt idx="733">
                  <c:v>0.35</c:v>
                </c:pt>
                <c:pt idx="734">
                  <c:v>0.35</c:v>
                </c:pt>
                <c:pt idx="735">
                  <c:v>0.35</c:v>
                </c:pt>
                <c:pt idx="736">
                  <c:v>0.35</c:v>
                </c:pt>
                <c:pt idx="737">
                  <c:v>0.35</c:v>
                </c:pt>
                <c:pt idx="738">
                  <c:v>0.35</c:v>
                </c:pt>
                <c:pt idx="739">
                  <c:v>0.35</c:v>
                </c:pt>
                <c:pt idx="740">
                  <c:v>0.35</c:v>
                </c:pt>
                <c:pt idx="741">
                  <c:v>0.35</c:v>
                </c:pt>
                <c:pt idx="742">
                  <c:v>0.35</c:v>
                </c:pt>
                <c:pt idx="743">
                  <c:v>0.35</c:v>
                </c:pt>
                <c:pt idx="744">
                  <c:v>0.35</c:v>
                </c:pt>
                <c:pt idx="745">
                  <c:v>0.35</c:v>
                </c:pt>
                <c:pt idx="746">
                  <c:v>0.35</c:v>
                </c:pt>
                <c:pt idx="747">
                  <c:v>0.35</c:v>
                </c:pt>
                <c:pt idx="748">
                  <c:v>0.35</c:v>
                </c:pt>
                <c:pt idx="749">
                  <c:v>0.35</c:v>
                </c:pt>
                <c:pt idx="750">
                  <c:v>0.35</c:v>
                </c:pt>
                <c:pt idx="751">
                  <c:v>0.35</c:v>
                </c:pt>
                <c:pt idx="752">
                  <c:v>0.35</c:v>
                </c:pt>
                <c:pt idx="753">
                  <c:v>0.35</c:v>
                </c:pt>
                <c:pt idx="754">
                  <c:v>0.35</c:v>
                </c:pt>
                <c:pt idx="755">
                  <c:v>0.35</c:v>
                </c:pt>
                <c:pt idx="756">
                  <c:v>0.35</c:v>
                </c:pt>
                <c:pt idx="757">
                  <c:v>0.35</c:v>
                </c:pt>
                <c:pt idx="758">
                  <c:v>0.35</c:v>
                </c:pt>
                <c:pt idx="759">
                  <c:v>0.35</c:v>
                </c:pt>
                <c:pt idx="760">
                  <c:v>0.35</c:v>
                </c:pt>
                <c:pt idx="761">
                  <c:v>0.35</c:v>
                </c:pt>
                <c:pt idx="762">
                  <c:v>0.35</c:v>
                </c:pt>
                <c:pt idx="763">
                  <c:v>0.35</c:v>
                </c:pt>
                <c:pt idx="764">
                  <c:v>0.35</c:v>
                </c:pt>
                <c:pt idx="765">
                  <c:v>0.35</c:v>
                </c:pt>
                <c:pt idx="766">
                  <c:v>0.35</c:v>
                </c:pt>
                <c:pt idx="767">
                  <c:v>0.35</c:v>
                </c:pt>
                <c:pt idx="768">
                  <c:v>0.35</c:v>
                </c:pt>
                <c:pt idx="769">
                  <c:v>0.35</c:v>
                </c:pt>
                <c:pt idx="770">
                  <c:v>0.35</c:v>
                </c:pt>
                <c:pt idx="771">
                  <c:v>0.35</c:v>
                </c:pt>
                <c:pt idx="772">
                  <c:v>0.35</c:v>
                </c:pt>
                <c:pt idx="773">
                  <c:v>0.35</c:v>
                </c:pt>
                <c:pt idx="774">
                  <c:v>0.35</c:v>
                </c:pt>
                <c:pt idx="775">
                  <c:v>0.35</c:v>
                </c:pt>
              </c:numCache>
            </c:numRef>
          </c:val>
          <c:smooth val="0"/>
          <c:extLst>
            <c:ext xmlns:c16="http://schemas.microsoft.com/office/drawing/2014/chart" uri="{C3380CC4-5D6E-409C-BE32-E72D297353CC}">
              <c16:uniqueId val="{00000002-8A09-4D27-9626-9A16A7E12A2C}"/>
            </c:ext>
          </c:extLst>
        </c:ser>
        <c:dLbls>
          <c:showLegendKey val="0"/>
          <c:showVal val="0"/>
          <c:showCatName val="0"/>
          <c:showSerName val="0"/>
          <c:showPercent val="0"/>
          <c:showBubbleSize val="0"/>
        </c:dLbls>
        <c:smooth val="0"/>
        <c:axId val="1523397440"/>
        <c:axId val="1560384384"/>
      </c:lineChart>
      <c:dateAx>
        <c:axId val="1523397440"/>
        <c:scaling>
          <c:orientation val="minMax"/>
        </c:scaling>
        <c:delete val="0"/>
        <c:axPos val="b"/>
        <c:numFmt formatCode="yyyy\-mm\-dd;@"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1560384384"/>
        <c:crosses val="autoZero"/>
        <c:auto val="1"/>
        <c:lblOffset val="100"/>
        <c:baseTimeUnit val="days"/>
      </c:dateAx>
      <c:valAx>
        <c:axId val="1560384384"/>
        <c:scaling>
          <c:orientation val="minMax"/>
        </c:scaling>
        <c:delete val="0"/>
        <c:axPos val="l"/>
        <c:majorGridlines>
          <c:spPr>
            <a:ln w="9525" cap="flat" cmpd="sng" algn="ctr">
              <a:solidFill>
                <a:schemeClr val="tx1">
                  <a:lumMod val="15000"/>
                  <a:lumOff val="85000"/>
                </a:schemeClr>
              </a:solidFill>
              <a:round/>
            </a:ln>
            <a:effectLst/>
          </c:spPr>
        </c:majorGridlines>
        <c:numFmt formatCode="###,###,###,###,##0.00_ "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15233974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spPr>
            <a:solidFill>
              <a:srgbClr val="9B1717"/>
            </a:solidFill>
          </c:spPr>
          <c:dPt>
            <c:idx val="0"/>
            <c:bubble3D val="0"/>
            <c:spPr>
              <a:solidFill>
                <a:srgbClr val="9B1717"/>
              </a:solidFill>
              <a:ln w="19050">
                <a:solidFill>
                  <a:schemeClr val="lt1"/>
                </a:solidFill>
              </a:ln>
              <a:effectLst/>
            </c:spPr>
            <c:extLst>
              <c:ext xmlns:c16="http://schemas.microsoft.com/office/drawing/2014/chart" uri="{C3380CC4-5D6E-409C-BE32-E72D297353CC}">
                <c16:uniqueId val="{00000001-8F49-4C0B-AE66-E72D8C181E03}"/>
              </c:ext>
            </c:extLst>
          </c:dPt>
          <c:dPt>
            <c:idx val="1"/>
            <c:bubble3D val="0"/>
            <c:spPr>
              <a:solidFill>
                <a:schemeClr val="bg1">
                  <a:lumMod val="50000"/>
                </a:schemeClr>
              </a:solidFill>
              <a:ln w="19050">
                <a:solidFill>
                  <a:schemeClr val="lt1"/>
                </a:solidFill>
              </a:ln>
              <a:effectLst/>
            </c:spPr>
            <c:extLst>
              <c:ext xmlns:c16="http://schemas.microsoft.com/office/drawing/2014/chart" uri="{C3380CC4-5D6E-409C-BE32-E72D297353CC}">
                <c16:uniqueId val="{00000003-8F49-4C0B-AE66-E72D8C181E03}"/>
              </c:ext>
            </c:extLst>
          </c:dPt>
          <c:cat>
            <c:strRef>
              <c:f>Sheet10!$G$7:$G$8</c:f>
              <c:strCache>
                <c:ptCount val="2"/>
                <c:pt idx="0">
                  <c:v>Consumption</c:v>
                </c:pt>
                <c:pt idx="1">
                  <c:v>Bank Account</c:v>
                </c:pt>
              </c:strCache>
            </c:strRef>
          </c:cat>
          <c:val>
            <c:numRef>
              <c:f>Sheet10!$H$7:$H$8</c:f>
              <c:numCache>
                <c:formatCode>0%</c:formatCode>
                <c:ptCount val="2"/>
                <c:pt idx="0">
                  <c:v>0.75</c:v>
                </c:pt>
                <c:pt idx="1">
                  <c:v>0.25</c:v>
                </c:pt>
              </c:numCache>
            </c:numRef>
          </c:val>
          <c:extLst>
            <c:ext xmlns:c16="http://schemas.microsoft.com/office/drawing/2014/chart" uri="{C3380CC4-5D6E-409C-BE32-E72D297353CC}">
              <c16:uniqueId val="{00000004-8F49-4C0B-AE66-E72D8C181E03}"/>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4278841" cy="339884"/>
          </a:xfrm>
          <a:prstGeom prst="rect">
            <a:avLst/>
          </a:prstGeom>
        </p:spPr>
        <p:txBody>
          <a:bodyPr vert="horz" lIns="91440" tIns="45720" rIns="91440" bIns="45720" rtlCol="0"/>
          <a:lstStyle>
            <a:lvl1pPr algn="l">
              <a:defRPr sz="1200"/>
            </a:lvl1pPr>
          </a:lstStyle>
          <a:p>
            <a:endParaRPr lang="en-US" dirty="0">
              <a:latin typeface="Arial" pitchFamily="34" charset="0"/>
              <a:cs typeface="Arial" pitchFamily="34" charset="0"/>
            </a:endParaRPr>
          </a:p>
        </p:txBody>
      </p:sp>
      <p:sp>
        <p:nvSpPr>
          <p:cNvPr id="3" name="Date Placeholder 2"/>
          <p:cNvSpPr>
            <a:spLocks noGrp="1"/>
          </p:cNvSpPr>
          <p:nvPr>
            <p:ph type="dt" sz="quarter" idx="1"/>
          </p:nvPr>
        </p:nvSpPr>
        <p:spPr>
          <a:xfrm>
            <a:off x="5593125" y="0"/>
            <a:ext cx="4278841" cy="339884"/>
          </a:xfrm>
          <a:prstGeom prst="rect">
            <a:avLst/>
          </a:prstGeom>
        </p:spPr>
        <p:txBody>
          <a:bodyPr vert="horz" lIns="91440" tIns="45720" rIns="91440" bIns="45720" rtlCol="0"/>
          <a:lstStyle>
            <a:lvl1pPr algn="r">
              <a:defRPr sz="1200"/>
            </a:lvl1pPr>
          </a:lstStyle>
          <a:p>
            <a:fld id="{37497BA2-BE1C-4EE9-A31C-7FFCDEBC3FDE}" type="datetimeFigureOut">
              <a:rPr lang="en-US" smtClean="0">
                <a:latin typeface="Arial" pitchFamily="34" charset="0"/>
                <a:cs typeface="Arial" pitchFamily="34" charset="0"/>
              </a:rPr>
              <a:pPr/>
              <a:t>1/13/2020</a:t>
            </a:fld>
            <a:endParaRPr lang="en-US">
              <a:latin typeface="Arial" pitchFamily="34" charset="0"/>
              <a:cs typeface="Arial" pitchFamily="34" charset="0"/>
            </a:endParaRPr>
          </a:p>
        </p:txBody>
      </p:sp>
      <p:sp>
        <p:nvSpPr>
          <p:cNvPr id="4" name="Footer Placeholder 3"/>
          <p:cNvSpPr>
            <a:spLocks noGrp="1"/>
          </p:cNvSpPr>
          <p:nvPr>
            <p:ph type="ftr" sz="quarter" idx="2"/>
          </p:nvPr>
        </p:nvSpPr>
        <p:spPr>
          <a:xfrm>
            <a:off x="1" y="6456612"/>
            <a:ext cx="4278841" cy="339884"/>
          </a:xfrm>
          <a:prstGeom prst="rect">
            <a:avLst/>
          </a:prstGeom>
        </p:spPr>
        <p:txBody>
          <a:bodyPr vert="horz" lIns="91440" tIns="45720" rIns="91440" bIns="45720" rtlCol="0" anchor="b"/>
          <a:lstStyle>
            <a:lvl1pPr algn="l">
              <a:defRPr sz="1200"/>
            </a:lvl1pPr>
          </a:lstStyle>
          <a:p>
            <a:endParaRPr lang="en-US">
              <a:latin typeface="Arial" pitchFamily="34" charset="0"/>
              <a:cs typeface="Arial" pitchFamily="34" charset="0"/>
            </a:endParaRPr>
          </a:p>
        </p:txBody>
      </p:sp>
      <p:sp>
        <p:nvSpPr>
          <p:cNvPr id="5" name="Slide Number Placeholder 4"/>
          <p:cNvSpPr>
            <a:spLocks noGrp="1"/>
          </p:cNvSpPr>
          <p:nvPr>
            <p:ph type="sldNum" sz="quarter" idx="3"/>
          </p:nvPr>
        </p:nvSpPr>
        <p:spPr>
          <a:xfrm>
            <a:off x="5593125" y="6456612"/>
            <a:ext cx="4278841" cy="339884"/>
          </a:xfrm>
          <a:prstGeom prst="rect">
            <a:avLst/>
          </a:prstGeom>
        </p:spPr>
        <p:txBody>
          <a:bodyPr vert="horz" lIns="91440" tIns="45720" rIns="91440" bIns="45720" rtlCol="0" anchor="b"/>
          <a:lstStyle>
            <a:lvl1pPr algn="r">
              <a:defRPr sz="1200"/>
            </a:lvl1pPr>
          </a:lstStyle>
          <a:p>
            <a:fld id="{F0C191C2-D4F7-424F-868C-23ADE6615EBC}" type="slidenum">
              <a:rPr lang="en-US" smtClean="0">
                <a:latin typeface="Arial" pitchFamily="34" charset="0"/>
                <a:cs typeface="Arial" pitchFamily="34" charset="0"/>
              </a:rPr>
              <a:pPr/>
              <a:t>‹#›</a:t>
            </a:fld>
            <a:endParaRPr lang="en-US">
              <a:latin typeface="Arial" pitchFamily="34" charset="0"/>
              <a:cs typeface="Arial" pitchFamily="34" charset="0"/>
            </a:endParaRPr>
          </a:p>
        </p:txBody>
      </p:sp>
    </p:spTree>
    <p:extLst>
      <p:ext uri="{BB962C8B-B14F-4D97-AF65-F5344CB8AC3E}">
        <p14:creationId xmlns:p14="http://schemas.microsoft.com/office/powerpoint/2010/main" val="6860554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4278841" cy="339884"/>
          </a:xfrm>
          <a:prstGeom prst="rect">
            <a:avLst/>
          </a:prstGeom>
        </p:spPr>
        <p:txBody>
          <a:bodyPr vert="horz" lIns="91440" tIns="45720" rIns="91440" bIns="45720"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5593125" y="0"/>
            <a:ext cx="4278841" cy="339884"/>
          </a:xfrm>
          <a:prstGeom prst="rect">
            <a:avLst/>
          </a:prstGeom>
        </p:spPr>
        <p:txBody>
          <a:bodyPr vert="horz" lIns="91440" tIns="45720" rIns="91440" bIns="45720" rtlCol="0"/>
          <a:lstStyle>
            <a:lvl1pPr algn="r">
              <a:defRPr sz="1200">
                <a:latin typeface="Arial" pitchFamily="34" charset="0"/>
                <a:cs typeface="Arial" pitchFamily="34" charset="0"/>
              </a:defRPr>
            </a:lvl1pPr>
          </a:lstStyle>
          <a:p>
            <a:fld id="{732C4D34-2C19-43C3-91CC-9F2B4AC12977}" type="datetimeFigureOut">
              <a:rPr lang="en-US" smtClean="0"/>
              <a:pPr/>
              <a:t>1/13/2020</a:t>
            </a:fld>
            <a:endParaRPr lang="en-US"/>
          </a:p>
        </p:txBody>
      </p:sp>
      <p:sp>
        <p:nvSpPr>
          <p:cNvPr id="4" name="Slide Image Placeholder 3"/>
          <p:cNvSpPr>
            <a:spLocks noGrp="1" noRot="1" noChangeAspect="1"/>
          </p:cNvSpPr>
          <p:nvPr>
            <p:ph type="sldImg" idx="2"/>
          </p:nvPr>
        </p:nvSpPr>
        <p:spPr>
          <a:xfrm>
            <a:off x="3097213" y="509588"/>
            <a:ext cx="3679825" cy="25495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87426" y="3228896"/>
            <a:ext cx="7899400" cy="3058954"/>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 y="6456612"/>
            <a:ext cx="4278841" cy="339884"/>
          </a:xfrm>
          <a:prstGeom prst="rect">
            <a:avLst/>
          </a:prstGeom>
        </p:spPr>
        <p:txBody>
          <a:bodyPr vert="horz" lIns="91440" tIns="45720" rIns="91440" bIns="45720" rtlCol="0" anchor="b"/>
          <a:lstStyle>
            <a:lvl1pPr algn="l">
              <a:defRPr sz="1200">
                <a:latin typeface="Arial" pitchFamily="34" charset="0"/>
                <a:cs typeface="Arial" pitchFamily="34" charset="0"/>
              </a:defRPr>
            </a:lvl1pPr>
          </a:lstStyle>
          <a:p>
            <a:endParaRPr lang="en-US"/>
          </a:p>
        </p:txBody>
      </p:sp>
      <p:sp>
        <p:nvSpPr>
          <p:cNvPr id="7" name="Slide Number Placeholder 6"/>
          <p:cNvSpPr>
            <a:spLocks noGrp="1"/>
          </p:cNvSpPr>
          <p:nvPr>
            <p:ph type="sldNum" sz="quarter" idx="5"/>
          </p:nvPr>
        </p:nvSpPr>
        <p:spPr>
          <a:xfrm>
            <a:off x="5593125" y="6456612"/>
            <a:ext cx="4278841" cy="339884"/>
          </a:xfrm>
          <a:prstGeom prst="rect">
            <a:avLst/>
          </a:prstGeom>
        </p:spPr>
        <p:txBody>
          <a:bodyPr vert="horz" lIns="91440" tIns="45720" rIns="91440" bIns="45720" rtlCol="0" anchor="b"/>
          <a:lstStyle>
            <a:lvl1pPr algn="r">
              <a:defRPr sz="1200">
                <a:latin typeface="Arial" pitchFamily="34" charset="0"/>
                <a:cs typeface="Arial" pitchFamily="34" charset="0"/>
              </a:defRPr>
            </a:lvl1pPr>
          </a:lstStyle>
          <a:p>
            <a:fld id="{D256E95E-57AA-4526-AA4C-3002F47FB13B}" type="slidenum">
              <a:rPr lang="en-US" smtClean="0"/>
              <a:pPr/>
              <a:t>‹#›</a:t>
            </a:fld>
            <a:endParaRPr lang="en-US"/>
          </a:p>
        </p:txBody>
      </p:sp>
    </p:spTree>
    <p:extLst>
      <p:ext uri="{BB962C8B-B14F-4D97-AF65-F5344CB8AC3E}">
        <p14:creationId xmlns:p14="http://schemas.microsoft.com/office/powerpoint/2010/main" val="1571392403"/>
      </p:ext>
    </p:extLst>
  </p:cSld>
  <p:clrMap bg1="lt1" tx1="dk1" bg2="lt2" tx2="dk2" accent1="accent1" accent2="accent2" accent3="accent3" accent4="accent4" accent5="accent5" accent6="accent6" hlink="hlink" folHlink="folHlink"/>
  <p:notesStyle>
    <a:lvl1pPr marL="0" algn="l" defTabSz="957925" rtl="0" eaLnBrk="1" latinLnBrk="0" hangingPunct="1">
      <a:defRPr sz="1300" kern="1200">
        <a:solidFill>
          <a:schemeClr val="tx1"/>
        </a:solidFill>
        <a:latin typeface="Arial" pitchFamily="34" charset="0"/>
        <a:ea typeface="+mn-ea"/>
        <a:cs typeface="Arial" pitchFamily="34" charset="0"/>
      </a:defRPr>
    </a:lvl1pPr>
    <a:lvl2pPr marL="478963" algn="l" defTabSz="957925" rtl="0" eaLnBrk="1" latinLnBrk="0" hangingPunct="1">
      <a:defRPr sz="1300" kern="1200">
        <a:solidFill>
          <a:schemeClr val="tx1"/>
        </a:solidFill>
        <a:latin typeface="Arial" pitchFamily="34" charset="0"/>
        <a:ea typeface="+mn-ea"/>
        <a:cs typeface="Arial" pitchFamily="34" charset="0"/>
      </a:defRPr>
    </a:lvl2pPr>
    <a:lvl3pPr marL="957925" algn="l" defTabSz="957925" rtl="0" eaLnBrk="1" latinLnBrk="0" hangingPunct="1">
      <a:defRPr sz="1300" kern="1200">
        <a:solidFill>
          <a:schemeClr val="tx1"/>
        </a:solidFill>
        <a:latin typeface="Arial" pitchFamily="34" charset="0"/>
        <a:ea typeface="+mn-ea"/>
        <a:cs typeface="Arial" pitchFamily="34" charset="0"/>
      </a:defRPr>
    </a:lvl3pPr>
    <a:lvl4pPr marL="1436888" algn="l" defTabSz="957925" rtl="0" eaLnBrk="1" latinLnBrk="0" hangingPunct="1">
      <a:defRPr sz="1300" kern="1200">
        <a:solidFill>
          <a:schemeClr val="tx1"/>
        </a:solidFill>
        <a:latin typeface="Arial" pitchFamily="34" charset="0"/>
        <a:ea typeface="+mn-ea"/>
        <a:cs typeface="Arial" pitchFamily="34" charset="0"/>
      </a:defRPr>
    </a:lvl4pPr>
    <a:lvl5pPr marL="1915851" algn="l" defTabSz="957925" rtl="0" eaLnBrk="1" latinLnBrk="0" hangingPunct="1">
      <a:defRPr sz="1300" kern="1200">
        <a:solidFill>
          <a:schemeClr val="tx1"/>
        </a:solidFill>
        <a:latin typeface="Arial" pitchFamily="34" charset="0"/>
        <a:ea typeface="+mn-ea"/>
        <a:cs typeface="Arial" pitchFamily="34" charset="0"/>
      </a:defRPr>
    </a:lvl5pPr>
    <a:lvl6pPr marL="2394814" algn="l" defTabSz="957925" rtl="0" eaLnBrk="1" latinLnBrk="0" hangingPunct="1">
      <a:defRPr sz="1300" kern="1200">
        <a:solidFill>
          <a:schemeClr val="tx1"/>
        </a:solidFill>
        <a:latin typeface="+mn-lt"/>
        <a:ea typeface="+mn-ea"/>
        <a:cs typeface="+mn-cs"/>
      </a:defRPr>
    </a:lvl6pPr>
    <a:lvl7pPr marL="2873776" algn="l" defTabSz="957925" rtl="0" eaLnBrk="1" latinLnBrk="0" hangingPunct="1">
      <a:defRPr sz="1300" kern="1200">
        <a:solidFill>
          <a:schemeClr val="tx1"/>
        </a:solidFill>
        <a:latin typeface="+mn-lt"/>
        <a:ea typeface="+mn-ea"/>
        <a:cs typeface="+mn-cs"/>
      </a:defRPr>
    </a:lvl7pPr>
    <a:lvl8pPr marL="3352739" algn="l" defTabSz="957925" rtl="0" eaLnBrk="1" latinLnBrk="0" hangingPunct="1">
      <a:defRPr sz="1300" kern="1200">
        <a:solidFill>
          <a:schemeClr val="tx1"/>
        </a:solidFill>
        <a:latin typeface="+mn-lt"/>
        <a:ea typeface="+mn-ea"/>
        <a:cs typeface="+mn-cs"/>
      </a:defRPr>
    </a:lvl8pPr>
    <a:lvl9pPr marL="3831702" algn="l" defTabSz="957925"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xgboost.readthedocs.io/en/latest/"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marL="0" marR="0" lvl="0" indent="0" algn="r" defTabSz="958215" rtl="0" eaLnBrk="1" fontAlgn="auto" latinLnBrk="0" hangingPunct="1">
              <a:lnSpc>
                <a:spcPct val="100000"/>
              </a:lnSpc>
              <a:spcBef>
                <a:spcPts val="0"/>
              </a:spcBef>
              <a:spcAft>
                <a:spcPts val="0"/>
              </a:spcAft>
              <a:buClrTx/>
              <a:buSzTx/>
              <a:buFontTx/>
              <a:buNone/>
              <a:tabLst/>
              <a:defRPr/>
            </a:pPr>
            <a:fld id="{7392B679-AE23-4750-8FB0-6513430B8953}" type="slidenum">
              <a:rPr kumimoji="0" lang="zh-CN" altLang="en-US" sz="1200" u="none" strike="noStrike" kern="1200" cap="none" spc="0" normalizeH="0" baseline="0" noProof="0" smtClean="0">
                <a:ln>
                  <a:noFill/>
                </a:ln>
                <a:solidFill>
                  <a:srgbClr val="000000"/>
                </a:solidFill>
                <a:effectLst/>
                <a:uLnTx/>
                <a:uFillTx/>
                <a:ea typeface="宋体" panose="02010600030101010101" pitchFamily="2" charset="-122"/>
              </a:rPr>
              <a:pPr marL="0" marR="0" lvl="0" indent="0" algn="r" defTabSz="958215" rtl="0" eaLnBrk="1" fontAlgn="auto" latinLnBrk="0" hangingPunct="1">
                <a:lnSpc>
                  <a:spcPct val="100000"/>
                </a:lnSpc>
                <a:spcBef>
                  <a:spcPts val="0"/>
                </a:spcBef>
                <a:spcAft>
                  <a:spcPts val="0"/>
                </a:spcAft>
                <a:buClrTx/>
                <a:buSzTx/>
                <a:buFontTx/>
                <a:buNone/>
                <a:tabLst/>
                <a:defRPr/>
              </a:pPr>
              <a:t>3</a:t>
            </a:fld>
            <a:endParaRPr kumimoji="0" lang="zh-CN" altLang="en-US" sz="1200" u="none" strike="noStrike" kern="1200" cap="none" spc="0" normalizeH="0" baseline="0" noProof="0" dirty="0">
              <a:ln>
                <a:noFill/>
              </a:ln>
              <a:solidFill>
                <a:srgbClr val="000000"/>
              </a:solidFill>
              <a:effectLst/>
              <a:uLnTx/>
              <a:uFillTx/>
              <a:ea typeface="宋体" panose="02010600030101010101" pitchFamily="2" charset="-122"/>
            </a:endParaRPr>
          </a:p>
        </p:txBody>
      </p:sp>
    </p:spTree>
    <p:extLst>
      <p:ext uri="{BB962C8B-B14F-4D97-AF65-F5344CB8AC3E}">
        <p14:creationId xmlns:p14="http://schemas.microsoft.com/office/powerpoint/2010/main" val="7338808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pPr/>
              <a:t>25</a:t>
            </a:fld>
            <a:endParaRPr lang="en-US"/>
          </a:p>
        </p:txBody>
      </p:sp>
    </p:spTree>
    <p:extLst>
      <p:ext uri="{BB962C8B-B14F-4D97-AF65-F5344CB8AC3E}">
        <p14:creationId xmlns:p14="http://schemas.microsoft.com/office/powerpoint/2010/main" val="5244494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marL="0" marR="0" lvl="0" indent="0" algn="r" defTabSz="958215" rtl="0" eaLnBrk="1" fontAlgn="auto" latinLnBrk="0" hangingPunct="1">
              <a:lnSpc>
                <a:spcPct val="100000"/>
              </a:lnSpc>
              <a:spcBef>
                <a:spcPts val="0"/>
              </a:spcBef>
              <a:spcAft>
                <a:spcPts val="0"/>
              </a:spcAft>
              <a:buClrTx/>
              <a:buSzTx/>
              <a:buFontTx/>
              <a:buNone/>
              <a:tabLst/>
              <a:defRPr/>
            </a:pPr>
            <a:fld id="{7392B679-AE23-4750-8FB0-6513430B8953}" type="slidenum">
              <a:rPr kumimoji="0" lang="zh-CN" altLang="en-US" sz="1200" u="none" strike="noStrike" kern="1200" cap="none" spc="0" normalizeH="0" baseline="0" noProof="0" smtClean="0">
                <a:ln>
                  <a:noFill/>
                </a:ln>
                <a:solidFill>
                  <a:srgbClr val="000000"/>
                </a:solidFill>
                <a:effectLst/>
                <a:uLnTx/>
                <a:uFillTx/>
                <a:ea typeface="宋体" panose="02010600030101010101" pitchFamily="2" charset="-122"/>
              </a:rPr>
              <a:pPr marL="0" marR="0" lvl="0" indent="0" algn="r" defTabSz="958215" rtl="0" eaLnBrk="1" fontAlgn="auto" latinLnBrk="0" hangingPunct="1">
                <a:lnSpc>
                  <a:spcPct val="100000"/>
                </a:lnSpc>
                <a:spcBef>
                  <a:spcPts val="0"/>
                </a:spcBef>
                <a:spcAft>
                  <a:spcPts val="0"/>
                </a:spcAft>
                <a:buClrTx/>
                <a:buSzTx/>
                <a:buFontTx/>
                <a:buNone/>
                <a:tabLst/>
                <a:defRPr/>
              </a:pPr>
              <a:t>27</a:t>
            </a:fld>
            <a:endParaRPr kumimoji="0" lang="zh-CN" altLang="en-US" sz="1200" u="none" strike="noStrike" kern="1200" cap="none" spc="0" normalizeH="0" baseline="0" noProof="0" dirty="0">
              <a:ln>
                <a:noFill/>
              </a:ln>
              <a:solidFill>
                <a:srgbClr val="000000"/>
              </a:solidFill>
              <a:effectLst/>
              <a:uLnTx/>
              <a:uFillTx/>
              <a:ea typeface="宋体" panose="02010600030101010101" pitchFamily="2" charset="-122"/>
            </a:endParaRPr>
          </a:p>
        </p:txBody>
      </p:sp>
    </p:spTree>
    <p:extLst>
      <p:ext uri="{BB962C8B-B14F-4D97-AF65-F5344CB8AC3E}">
        <p14:creationId xmlns:p14="http://schemas.microsoft.com/office/powerpoint/2010/main" val="27302749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56E95E-57AA-4526-AA4C-3002F47FB13B}" type="slidenum">
              <a:rPr lang="en-US" smtClean="0"/>
              <a:pPr/>
              <a:t>30</a:t>
            </a:fld>
            <a:endParaRPr lang="en-US"/>
          </a:p>
        </p:txBody>
      </p:sp>
    </p:spTree>
    <p:extLst>
      <p:ext uri="{BB962C8B-B14F-4D97-AF65-F5344CB8AC3E}">
        <p14:creationId xmlns:p14="http://schemas.microsoft.com/office/powerpoint/2010/main" val="5721052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xgboost.readthedocs.io/en/latest/</a:t>
            </a:r>
            <a:endParaRPr lang="en-US" dirty="0"/>
          </a:p>
        </p:txBody>
      </p:sp>
      <p:sp>
        <p:nvSpPr>
          <p:cNvPr id="4" name="Slide Number Placeholder 3"/>
          <p:cNvSpPr>
            <a:spLocks noGrp="1"/>
          </p:cNvSpPr>
          <p:nvPr>
            <p:ph type="sldNum" sz="quarter" idx="10"/>
          </p:nvPr>
        </p:nvSpPr>
        <p:spPr/>
        <p:txBody>
          <a:bodyPr/>
          <a:lstStyle/>
          <a:p>
            <a:fld id="{D256E95E-57AA-4526-AA4C-3002F47FB13B}" type="slidenum">
              <a:rPr lang="en-US" smtClean="0"/>
              <a:pPr/>
              <a:t>33</a:t>
            </a:fld>
            <a:endParaRPr lang="en-US"/>
          </a:p>
        </p:txBody>
      </p:sp>
    </p:spTree>
    <p:extLst>
      <p:ext uri="{BB962C8B-B14F-4D97-AF65-F5344CB8AC3E}">
        <p14:creationId xmlns:p14="http://schemas.microsoft.com/office/powerpoint/2010/main" val="6194930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marL="0" marR="0" lvl="0" indent="0" algn="r" defTabSz="958215" rtl="0" eaLnBrk="1" fontAlgn="auto" latinLnBrk="0" hangingPunct="1">
              <a:lnSpc>
                <a:spcPct val="100000"/>
              </a:lnSpc>
              <a:spcBef>
                <a:spcPts val="0"/>
              </a:spcBef>
              <a:spcAft>
                <a:spcPts val="0"/>
              </a:spcAft>
              <a:buClrTx/>
              <a:buSzTx/>
              <a:buFontTx/>
              <a:buNone/>
              <a:tabLst/>
              <a:defRPr/>
            </a:pPr>
            <a:fld id="{7392B679-AE23-4750-8FB0-6513430B8953}" type="slidenum">
              <a:rPr kumimoji="0" lang="zh-CN" altLang="en-US" sz="1200" u="none" strike="noStrike" kern="1200" cap="none" spc="0" normalizeH="0" baseline="0" noProof="0" smtClean="0">
                <a:ln>
                  <a:noFill/>
                </a:ln>
                <a:solidFill>
                  <a:srgbClr val="000000"/>
                </a:solidFill>
                <a:effectLst/>
                <a:uLnTx/>
                <a:uFillTx/>
                <a:ea typeface="宋体" panose="02010600030101010101" pitchFamily="2" charset="-122"/>
              </a:rPr>
              <a:pPr marL="0" marR="0" lvl="0" indent="0" algn="r" defTabSz="958215" rtl="0" eaLnBrk="1" fontAlgn="auto" latinLnBrk="0" hangingPunct="1">
                <a:lnSpc>
                  <a:spcPct val="100000"/>
                </a:lnSpc>
                <a:spcBef>
                  <a:spcPts val="0"/>
                </a:spcBef>
                <a:spcAft>
                  <a:spcPts val="0"/>
                </a:spcAft>
                <a:buClrTx/>
                <a:buSzTx/>
                <a:buFontTx/>
                <a:buNone/>
                <a:tabLst/>
                <a:defRPr/>
              </a:pPr>
              <a:t>34</a:t>
            </a:fld>
            <a:endParaRPr kumimoji="0" lang="zh-CN" altLang="en-US" sz="1200" u="none" strike="noStrike" kern="1200" cap="none" spc="0" normalizeH="0" baseline="0" noProof="0" dirty="0">
              <a:ln>
                <a:noFill/>
              </a:ln>
              <a:solidFill>
                <a:srgbClr val="000000"/>
              </a:solidFill>
              <a:effectLst/>
              <a:uLnTx/>
              <a:uFillTx/>
              <a:ea typeface="宋体" panose="02010600030101010101" pitchFamily="2" charset="-122"/>
            </a:endParaRPr>
          </a:p>
        </p:txBody>
      </p:sp>
    </p:spTree>
    <p:extLst>
      <p:ext uri="{BB962C8B-B14F-4D97-AF65-F5344CB8AC3E}">
        <p14:creationId xmlns:p14="http://schemas.microsoft.com/office/powerpoint/2010/main" val="23979765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umber of </a:t>
            </a:r>
            <a:r>
              <a:rPr lang="en-US"/>
              <a:t>Hidden Neurons</a:t>
            </a:r>
            <a:r>
              <a:rPr lang="en-US" baseline="0"/>
              <a:t> and number of delays</a:t>
            </a:r>
            <a:endParaRPr lang="en-US"/>
          </a:p>
        </p:txBody>
      </p:sp>
      <p:sp>
        <p:nvSpPr>
          <p:cNvPr id="4" name="Slide Number Placeholder 3"/>
          <p:cNvSpPr>
            <a:spLocks noGrp="1"/>
          </p:cNvSpPr>
          <p:nvPr>
            <p:ph type="sldNum" sz="quarter" idx="10"/>
          </p:nvPr>
        </p:nvSpPr>
        <p:spPr/>
        <p:txBody>
          <a:bodyPr/>
          <a:lstStyle/>
          <a:p>
            <a:fld id="{D256E95E-57AA-4526-AA4C-3002F47FB13B}" type="slidenum">
              <a:rPr lang="en-US" smtClean="0"/>
              <a:pPr/>
              <a:t>38</a:t>
            </a:fld>
            <a:endParaRPr lang="en-US"/>
          </a:p>
        </p:txBody>
      </p:sp>
    </p:spTree>
    <p:extLst>
      <p:ext uri="{BB962C8B-B14F-4D97-AF65-F5344CB8AC3E}">
        <p14:creationId xmlns:p14="http://schemas.microsoft.com/office/powerpoint/2010/main" val="6184001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marL="0" marR="0" lvl="0" indent="0" algn="r" defTabSz="958215" rtl="0" eaLnBrk="1" fontAlgn="auto" latinLnBrk="0" hangingPunct="1">
              <a:lnSpc>
                <a:spcPct val="100000"/>
              </a:lnSpc>
              <a:spcBef>
                <a:spcPts val="0"/>
              </a:spcBef>
              <a:spcAft>
                <a:spcPts val="0"/>
              </a:spcAft>
              <a:buClrTx/>
              <a:buSzTx/>
              <a:buFontTx/>
              <a:buNone/>
              <a:tabLst/>
              <a:defRPr/>
            </a:pPr>
            <a:fld id="{7392B679-AE23-4750-8FB0-6513430B8953}" type="slidenum">
              <a:rPr kumimoji="0" lang="zh-CN" altLang="en-US" sz="1200" u="none" strike="noStrike" kern="1200" cap="none" spc="0" normalizeH="0" baseline="0" noProof="0" smtClean="0">
                <a:ln>
                  <a:noFill/>
                </a:ln>
                <a:solidFill>
                  <a:srgbClr val="000000"/>
                </a:solidFill>
                <a:effectLst/>
                <a:uLnTx/>
                <a:uFillTx/>
                <a:ea typeface="宋体" panose="02010600030101010101" pitchFamily="2" charset="-122"/>
              </a:rPr>
              <a:pPr marL="0" marR="0" lvl="0" indent="0" algn="r" defTabSz="958215" rtl="0" eaLnBrk="1" fontAlgn="auto" latinLnBrk="0" hangingPunct="1">
                <a:lnSpc>
                  <a:spcPct val="100000"/>
                </a:lnSpc>
                <a:spcBef>
                  <a:spcPts val="0"/>
                </a:spcBef>
                <a:spcAft>
                  <a:spcPts val="0"/>
                </a:spcAft>
                <a:buClrTx/>
                <a:buSzTx/>
                <a:buFontTx/>
                <a:buNone/>
                <a:tabLst/>
                <a:defRPr/>
              </a:pPr>
              <a:t>42</a:t>
            </a:fld>
            <a:endParaRPr kumimoji="0" lang="zh-CN" altLang="en-US" sz="1200" u="none" strike="noStrike" kern="1200" cap="none" spc="0" normalizeH="0" baseline="0" noProof="0" dirty="0">
              <a:ln>
                <a:noFill/>
              </a:ln>
              <a:solidFill>
                <a:srgbClr val="000000"/>
              </a:solidFill>
              <a:effectLst/>
              <a:uLnTx/>
              <a:uFillTx/>
              <a:ea typeface="宋体" panose="02010600030101010101" pitchFamily="2" charset="-122"/>
            </a:endParaRPr>
          </a:p>
        </p:txBody>
      </p:sp>
    </p:spTree>
    <p:extLst>
      <p:ext uri="{BB962C8B-B14F-4D97-AF65-F5344CB8AC3E}">
        <p14:creationId xmlns:p14="http://schemas.microsoft.com/office/powerpoint/2010/main" val="7145859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pPr/>
              <a:t>6</a:t>
            </a:fld>
            <a:endParaRPr lang="en-US"/>
          </a:p>
        </p:txBody>
      </p:sp>
    </p:spTree>
    <p:extLst>
      <p:ext uri="{BB962C8B-B14F-4D97-AF65-F5344CB8AC3E}">
        <p14:creationId xmlns:p14="http://schemas.microsoft.com/office/powerpoint/2010/main" val="34100031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marL="0" marR="0" lvl="0" indent="0" algn="r" defTabSz="958215" rtl="0" eaLnBrk="1" fontAlgn="auto" latinLnBrk="0" hangingPunct="1">
              <a:lnSpc>
                <a:spcPct val="100000"/>
              </a:lnSpc>
              <a:spcBef>
                <a:spcPts val="0"/>
              </a:spcBef>
              <a:spcAft>
                <a:spcPts val="0"/>
              </a:spcAft>
              <a:buClrTx/>
              <a:buSzTx/>
              <a:buFontTx/>
              <a:buNone/>
              <a:tabLst/>
              <a:defRPr/>
            </a:pPr>
            <a:fld id="{7392B679-AE23-4750-8FB0-6513430B8953}" type="slidenum">
              <a:rPr kumimoji="0" lang="zh-CN" altLang="en-US" sz="1200" u="none" strike="noStrike" kern="1200" cap="none" spc="0" normalizeH="0" baseline="0" noProof="0" smtClean="0">
                <a:ln>
                  <a:noFill/>
                </a:ln>
                <a:solidFill>
                  <a:srgbClr val="000000"/>
                </a:solidFill>
                <a:effectLst/>
                <a:uLnTx/>
                <a:uFillTx/>
                <a:ea typeface="宋体" panose="02010600030101010101" pitchFamily="2" charset="-122"/>
              </a:rPr>
              <a:pPr marL="0" marR="0" lvl="0" indent="0" algn="r" defTabSz="958215" rtl="0" eaLnBrk="1" fontAlgn="auto" latinLnBrk="0" hangingPunct="1">
                <a:lnSpc>
                  <a:spcPct val="100000"/>
                </a:lnSpc>
                <a:spcBef>
                  <a:spcPts val="0"/>
                </a:spcBef>
                <a:spcAft>
                  <a:spcPts val="0"/>
                </a:spcAft>
                <a:buClrTx/>
                <a:buSzTx/>
                <a:buFontTx/>
                <a:buNone/>
                <a:tabLst/>
                <a:defRPr/>
              </a:pPr>
              <a:t>8</a:t>
            </a:fld>
            <a:endParaRPr kumimoji="0" lang="zh-CN" altLang="en-US" sz="1200" u="none" strike="noStrike" kern="1200" cap="none" spc="0" normalizeH="0" baseline="0" noProof="0" dirty="0">
              <a:ln>
                <a:noFill/>
              </a:ln>
              <a:solidFill>
                <a:srgbClr val="000000"/>
              </a:solidFill>
              <a:effectLst/>
              <a:uLnTx/>
              <a:uFillTx/>
              <a:ea typeface="宋体" panose="02010600030101010101" pitchFamily="2" charset="-122"/>
            </a:endParaRPr>
          </a:p>
        </p:txBody>
      </p:sp>
    </p:spTree>
    <p:extLst>
      <p:ext uri="{BB962C8B-B14F-4D97-AF65-F5344CB8AC3E}">
        <p14:creationId xmlns:p14="http://schemas.microsoft.com/office/powerpoint/2010/main" val="26873981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marL="0" marR="0" lvl="0" indent="0" algn="r" defTabSz="958215" rtl="0" eaLnBrk="1" fontAlgn="auto" latinLnBrk="0" hangingPunct="1">
              <a:lnSpc>
                <a:spcPct val="100000"/>
              </a:lnSpc>
              <a:spcBef>
                <a:spcPts val="0"/>
              </a:spcBef>
              <a:spcAft>
                <a:spcPts val="0"/>
              </a:spcAft>
              <a:buClrTx/>
              <a:buSzTx/>
              <a:buFontTx/>
              <a:buNone/>
              <a:tabLst/>
              <a:defRPr/>
            </a:pPr>
            <a:fld id="{7392B679-AE23-4750-8FB0-6513430B8953}" type="slidenum">
              <a:rPr kumimoji="0" lang="zh-CN" altLang="en-US" sz="1200" u="none" strike="noStrike" kern="1200" cap="none" spc="0" normalizeH="0" baseline="0" noProof="0" smtClean="0">
                <a:ln>
                  <a:noFill/>
                </a:ln>
                <a:solidFill>
                  <a:srgbClr val="000000"/>
                </a:solidFill>
                <a:effectLst/>
                <a:uLnTx/>
                <a:uFillTx/>
                <a:ea typeface="宋体" panose="02010600030101010101" pitchFamily="2" charset="-122"/>
              </a:rPr>
              <a:pPr marL="0" marR="0" lvl="0" indent="0" algn="r" defTabSz="958215" rtl="0" eaLnBrk="1" fontAlgn="auto" latinLnBrk="0" hangingPunct="1">
                <a:lnSpc>
                  <a:spcPct val="100000"/>
                </a:lnSpc>
                <a:spcBef>
                  <a:spcPts val="0"/>
                </a:spcBef>
                <a:spcAft>
                  <a:spcPts val="0"/>
                </a:spcAft>
                <a:buClrTx/>
                <a:buSzTx/>
                <a:buFontTx/>
                <a:buNone/>
                <a:tabLst/>
                <a:defRPr/>
              </a:pPr>
              <a:t>9</a:t>
            </a:fld>
            <a:endParaRPr kumimoji="0" lang="zh-CN" altLang="en-US" sz="1200" u="none" strike="noStrike" kern="1200" cap="none" spc="0" normalizeH="0" baseline="0" noProof="0" dirty="0">
              <a:ln>
                <a:noFill/>
              </a:ln>
              <a:solidFill>
                <a:srgbClr val="000000"/>
              </a:solidFill>
              <a:effectLst/>
              <a:uLnTx/>
              <a:uFillTx/>
              <a:ea typeface="宋体" panose="02010600030101010101" pitchFamily="2" charset="-122"/>
            </a:endParaRPr>
          </a:p>
        </p:txBody>
      </p:sp>
    </p:spTree>
    <p:extLst>
      <p:ext uri="{BB962C8B-B14F-4D97-AF65-F5344CB8AC3E}">
        <p14:creationId xmlns:p14="http://schemas.microsoft.com/office/powerpoint/2010/main" val="10260999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300" b="0" i="0" u="none" strike="noStrike" kern="1200" dirty="0">
                <a:solidFill>
                  <a:schemeClr val="tx1"/>
                </a:solidFill>
                <a:effectLst/>
                <a:latin typeface="Arial" pitchFamily="34" charset="0"/>
                <a:ea typeface="+mn-ea"/>
                <a:cs typeface="Arial" pitchFamily="34" charset="0"/>
              </a:rPr>
              <a:t>融资融券，是股票交易中的一个专用术语，是指通过向券商借钱买入股票、借股票卖出（卖空）股票的交易方式。在英文中，融资可以翻译为：</a:t>
            </a:r>
            <a:r>
              <a:rPr lang="en" altLang="zh-CN" sz="1300" b="0" i="0" u="none" strike="noStrike" kern="1200" dirty="0">
                <a:solidFill>
                  <a:schemeClr val="tx1"/>
                </a:solidFill>
                <a:effectLst/>
                <a:latin typeface="Arial" pitchFamily="34" charset="0"/>
                <a:ea typeface="+mn-ea"/>
                <a:cs typeface="Arial" pitchFamily="34" charset="0"/>
              </a:rPr>
              <a:t>trade on margin</a:t>
            </a:r>
            <a:r>
              <a:rPr lang="zh-CN" altLang="en" sz="1300" b="0" i="0" u="none" strike="noStrike" kern="1200" dirty="0">
                <a:solidFill>
                  <a:schemeClr val="tx1"/>
                </a:solidFill>
                <a:effectLst/>
                <a:latin typeface="Arial" pitchFamily="34" charset="0"/>
                <a:ea typeface="+mn-ea"/>
                <a:cs typeface="Arial" pitchFamily="34" charset="0"/>
              </a:rPr>
              <a:t>，</a:t>
            </a:r>
            <a:r>
              <a:rPr lang="zh-CN" altLang="en-US" sz="1300" b="0" i="0" u="none" strike="noStrike" kern="1200" dirty="0">
                <a:solidFill>
                  <a:schemeClr val="tx1"/>
                </a:solidFill>
                <a:effectLst/>
                <a:latin typeface="Arial" pitchFamily="34" charset="0"/>
                <a:ea typeface="+mn-ea"/>
                <a:cs typeface="Arial" pitchFamily="34" charset="0"/>
              </a:rPr>
              <a:t>或者</a:t>
            </a:r>
            <a:r>
              <a:rPr lang="en" altLang="zh-CN" sz="1300" b="0" i="0" u="none" strike="noStrike" kern="1200" dirty="0">
                <a:solidFill>
                  <a:schemeClr val="tx1"/>
                </a:solidFill>
                <a:effectLst/>
                <a:latin typeface="Arial" pitchFamily="34" charset="0"/>
                <a:ea typeface="+mn-ea"/>
                <a:cs typeface="Arial" pitchFamily="34" charset="0"/>
              </a:rPr>
              <a:t>margin trading</a:t>
            </a:r>
            <a:r>
              <a:rPr lang="zh-CN" altLang="en" sz="1300" b="0" i="0" u="none" strike="noStrike" kern="1200" dirty="0">
                <a:solidFill>
                  <a:schemeClr val="tx1"/>
                </a:solidFill>
                <a:effectLst/>
                <a:latin typeface="Arial" pitchFamily="34" charset="0"/>
                <a:ea typeface="+mn-ea"/>
                <a:cs typeface="Arial" pitchFamily="34" charset="0"/>
              </a:rPr>
              <a:t>。</a:t>
            </a:r>
            <a:r>
              <a:rPr lang="zh-CN" altLang="en-US" sz="1300" b="0" i="0" u="none" strike="noStrike" kern="1200" dirty="0">
                <a:solidFill>
                  <a:schemeClr val="tx1"/>
                </a:solidFill>
                <a:effectLst/>
                <a:latin typeface="Arial" pitchFamily="34" charset="0"/>
                <a:ea typeface="+mn-ea"/>
                <a:cs typeface="Arial" pitchFamily="34" charset="0"/>
              </a:rPr>
              <a:t>而融券，则可以说：</a:t>
            </a:r>
            <a:r>
              <a:rPr lang="en" altLang="zh-CN" sz="1300" b="0" i="0" u="none" strike="noStrike" kern="1200" dirty="0">
                <a:solidFill>
                  <a:schemeClr val="tx1"/>
                </a:solidFill>
                <a:effectLst/>
                <a:latin typeface="Arial" pitchFamily="34" charset="0"/>
                <a:ea typeface="+mn-ea"/>
                <a:cs typeface="Arial" pitchFamily="34" charset="0"/>
              </a:rPr>
              <a:t>selling short</a:t>
            </a:r>
            <a:r>
              <a:rPr lang="zh-CN" altLang="en" sz="1300" b="0" i="0" u="none" strike="noStrike" kern="1200" dirty="0">
                <a:solidFill>
                  <a:schemeClr val="tx1"/>
                </a:solidFill>
                <a:effectLst/>
                <a:latin typeface="Arial" pitchFamily="34" charset="0"/>
                <a:ea typeface="+mn-ea"/>
                <a:cs typeface="Arial" pitchFamily="34" charset="0"/>
              </a:rPr>
              <a:t>，</a:t>
            </a:r>
            <a:r>
              <a:rPr lang="zh-CN" altLang="en-US" sz="1300" b="0" i="0" u="none" strike="noStrike" kern="1200" dirty="0">
                <a:solidFill>
                  <a:schemeClr val="tx1"/>
                </a:solidFill>
                <a:effectLst/>
                <a:latin typeface="Arial" pitchFamily="34" charset="0"/>
                <a:ea typeface="+mn-ea"/>
                <a:cs typeface="Arial" pitchFamily="34" charset="0"/>
              </a:rPr>
              <a:t>或</a:t>
            </a:r>
            <a:r>
              <a:rPr lang="en" altLang="zh-CN" sz="1300" b="0" i="0" u="none" strike="noStrike" kern="1200" dirty="0">
                <a:solidFill>
                  <a:schemeClr val="tx1"/>
                </a:solidFill>
                <a:effectLst/>
                <a:latin typeface="Arial" pitchFamily="34" charset="0"/>
                <a:ea typeface="+mn-ea"/>
                <a:cs typeface="Arial" pitchFamily="34" charset="0"/>
              </a:rPr>
              <a:t>short selling</a:t>
            </a:r>
            <a:r>
              <a:rPr lang="zh-CN" altLang="en" sz="1300" b="0" i="0" u="none" strike="noStrike" kern="1200" dirty="0">
                <a:solidFill>
                  <a:schemeClr val="tx1"/>
                </a:solidFill>
                <a:effectLst/>
                <a:latin typeface="Arial" pitchFamily="34" charset="0"/>
                <a:ea typeface="+mn-ea"/>
                <a:cs typeface="Arial" pitchFamily="34" charset="0"/>
              </a:rPr>
              <a:t>。</a:t>
            </a:r>
            <a:r>
              <a:rPr lang="zh-CN" altLang="en-US" sz="1300" b="0" i="0" u="none" strike="noStrike" kern="1200" dirty="0">
                <a:solidFill>
                  <a:schemeClr val="tx1"/>
                </a:solidFill>
                <a:effectLst/>
                <a:latin typeface="Arial" pitchFamily="34" charset="0"/>
                <a:ea typeface="+mn-ea"/>
                <a:cs typeface="Arial" pitchFamily="34" charset="0"/>
              </a:rPr>
              <a:t>而提供这种融资融券操作的证券账户叫做</a:t>
            </a:r>
            <a:r>
              <a:rPr lang="en" altLang="zh-CN" sz="1300" b="0" i="0" u="none" strike="noStrike" kern="1200" dirty="0">
                <a:solidFill>
                  <a:schemeClr val="tx1"/>
                </a:solidFill>
                <a:effectLst/>
                <a:latin typeface="Arial" pitchFamily="34" charset="0"/>
                <a:ea typeface="+mn-ea"/>
                <a:cs typeface="Arial" pitchFamily="34" charset="0"/>
              </a:rPr>
              <a:t>margin account</a:t>
            </a:r>
            <a:r>
              <a:rPr lang="zh-CN" altLang="en" sz="1300" b="0" i="0" u="none" strike="noStrike" kern="1200" dirty="0">
                <a:solidFill>
                  <a:schemeClr val="tx1"/>
                </a:solidFill>
                <a:effectLst/>
                <a:latin typeface="Arial" pitchFamily="34" charset="0"/>
                <a:ea typeface="+mn-ea"/>
                <a:cs typeface="Arial" pitchFamily="34" charset="0"/>
              </a:rPr>
              <a:t>，</a:t>
            </a:r>
            <a:r>
              <a:rPr lang="zh-CN" altLang="en-US" sz="1300" b="0" i="0" u="none" strike="noStrike" kern="1200" dirty="0">
                <a:solidFill>
                  <a:schemeClr val="tx1"/>
                </a:solidFill>
                <a:effectLst/>
                <a:latin typeface="Arial" pitchFamily="34" charset="0"/>
                <a:ea typeface="+mn-ea"/>
                <a:cs typeface="Arial" pitchFamily="34" charset="0"/>
              </a:rPr>
              <a:t>中文里往往叫做：信用账户、保证金账户、融资融券账户等。</a:t>
            </a:r>
            <a:endParaRPr kumimoji="1"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pPr/>
              <a:t>13</a:t>
            </a:fld>
            <a:endParaRPr lang="en-US"/>
          </a:p>
        </p:txBody>
      </p:sp>
    </p:spTree>
    <p:extLst>
      <p:ext uri="{BB962C8B-B14F-4D97-AF65-F5344CB8AC3E}">
        <p14:creationId xmlns:p14="http://schemas.microsoft.com/office/powerpoint/2010/main" val="12190137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57925" rtl="0" eaLnBrk="1" fontAlgn="auto" latinLnBrk="0" hangingPunct="1">
              <a:lnSpc>
                <a:spcPct val="100000"/>
              </a:lnSpc>
              <a:spcBef>
                <a:spcPts val="0"/>
              </a:spcBef>
              <a:spcAft>
                <a:spcPts val="0"/>
              </a:spcAft>
              <a:buClrTx/>
              <a:buSzTx/>
              <a:buFontTx/>
              <a:buNone/>
              <a:tabLst/>
              <a:defRPr/>
            </a:pPr>
            <a:r>
              <a:rPr kumimoji="1" lang="en" altLang="zh-CN" sz="1400" dirty="0" err="1">
                <a:latin typeface="Palatino" pitchFamily="2" charset="0"/>
                <a:ea typeface="Palatino" pitchFamily="2" charset="0"/>
                <a:cs typeface="Times New Roman" panose="02020603050405020304" pitchFamily="18" charset="0"/>
              </a:rPr>
              <a:t>Eg</a:t>
            </a:r>
            <a:r>
              <a:rPr kumimoji="1" lang="en-US" altLang="zh-CN" sz="1400" dirty="0">
                <a:latin typeface="Palatino" pitchFamily="2" charset="0"/>
                <a:ea typeface="Palatino" pitchFamily="2" charset="0"/>
                <a:cs typeface="Times New Roman" panose="02020603050405020304" pitchFamily="18" charset="0"/>
              </a:rPr>
              <a:t>.</a:t>
            </a:r>
            <a:r>
              <a:rPr kumimoji="1" lang="en" altLang="zh-CN" sz="1400" dirty="0">
                <a:latin typeface="Palatino" pitchFamily="2" charset="0"/>
                <a:ea typeface="Palatino" pitchFamily="2" charset="0"/>
                <a:cs typeface="Times New Roman" panose="02020603050405020304" pitchFamily="18" charset="0"/>
              </a:rPr>
              <a:t> the 3-day Mid-Autumn festival in September requires similar holiday characteristics in the sample to describe this feature.</a:t>
            </a:r>
          </a:p>
          <a:p>
            <a:endParaRPr kumimoji="1"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pPr/>
              <a:t>15</a:t>
            </a:fld>
            <a:endParaRPr lang="en-US"/>
          </a:p>
        </p:txBody>
      </p:sp>
    </p:spTree>
    <p:extLst>
      <p:ext uri="{BB962C8B-B14F-4D97-AF65-F5344CB8AC3E}">
        <p14:creationId xmlns:p14="http://schemas.microsoft.com/office/powerpoint/2010/main" val="3096590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pPr/>
              <a:t>18</a:t>
            </a:fld>
            <a:endParaRPr lang="en-US"/>
          </a:p>
        </p:txBody>
      </p:sp>
    </p:spTree>
    <p:extLst>
      <p:ext uri="{BB962C8B-B14F-4D97-AF65-F5344CB8AC3E}">
        <p14:creationId xmlns:p14="http://schemas.microsoft.com/office/powerpoint/2010/main" val="35576056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marL="0" marR="0" lvl="0" indent="0" algn="r" defTabSz="958215" rtl="0" eaLnBrk="1" fontAlgn="auto" latinLnBrk="0" hangingPunct="1">
              <a:lnSpc>
                <a:spcPct val="100000"/>
              </a:lnSpc>
              <a:spcBef>
                <a:spcPts val="0"/>
              </a:spcBef>
              <a:spcAft>
                <a:spcPts val="0"/>
              </a:spcAft>
              <a:buClrTx/>
              <a:buSzTx/>
              <a:buFontTx/>
              <a:buNone/>
              <a:tabLst/>
              <a:defRPr/>
            </a:pPr>
            <a:fld id="{7392B679-AE23-4750-8FB0-6513430B8953}" type="slidenum">
              <a:rPr kumimoji="0" lang="zh-CN" altLang="en-US" sz="1200" u="none" strike="noStrike" kern="1200" cap="none" spc="0" normalizeH="0" baseline="0" noProof="0" smtClean="0">
                <a:ln>
                  <a:noFill/>
                </a:ln>
                <a:solidFill>
                  <a:srgbClr val="000000"/>
                </a:solidFill>
                <a:effectLst/>
                <a:uLnTx/>
                <a:uFillTx/>
                <a:ea typeface="宋体" panose="02010600030101010101" pitchFamily="2" charset="-122"/>
              </a:rPr>
              <a:pPr marL="0" marR="0" lvl="0" indent="0" algn="r" defTabSz="958215" rtl="0" eaLnBrk="1" fontAlgn="auto" latinLnBrk="0" hangingPunct="1">
                <a:lnSpc>
                  <a:spcPct val="100000"/>
                </a:lnSpc>
                <a:spcBef>
                  <a:spcPts val="0"/>
                </a:spcBef>
                <a:spcAft>
                  <a:spcPts val="0"/>
                </a:spcAft>
                <a:buClrTx/>
                <a:buSzTx/>
                <a:buFontTx/>
                <a:buNone/>
                <a:tabLst/>
                <a:defRPr/>
              </a:pPr>
              <a:t>19</a:t>
            </a:fld>
            <a:endParaRPr kumimoji="0" lang="zh-CN" altLang="en-US" sz="1200" u="none" strike="noStrike" kern="1200" cap="none" spc="0" normalizeH="0" baseline="0" noProof="0" dirty="0">
              <a:ln>
                <a:noFill/>
              </a:ln>
              <a:solidFill>
                <a:srgbClr val="000000"/>
              </a:solidFill>
              <a:effectLst/>
              <a:uLnTx/>
              <a:uFillTx/>
              <a:ea typeface="宋体" panose="02010600030101010101" pitchFamily="2" charset="-122"/>
            </a:endParaRPr>
          </a:p>
        </p:txBody>
      </p:sp>
    </p:spTree>
    <p:extLst>
      <p:ext uri="{BB962C8B-B14F-4D97-AF65-F5344CB8AC3E}">
        <p14:creationId xmlns:p14="http://schemas.microsoft.com/office/powerpoint/2010/main" val="35750735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pPr/>
              <a:t>24</a:t>
            </a:fld>
            <a:endParaRPr lang="en-US"/>
          </a:p>
        </p:txBody>
      </p:sp>
    </p:spTree>
    <p:extLst>
      <p:ext uri="{BB962C8B-B14F-4D97-AF65-F5344CB8AC3E}">
        <p14:creationId xmlns:p14="http://schemas.microsoft.com/office/powerpoint/2010/main" val="41870173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R CoverWhite">
    <p:spTree>
      <p:nvGrpSpPr>
        <p:cNvPr id="1" name=""/>
        <p:cNvGrpSpPr/>
        <p:nvPr/>
      </p:nvGrpSpPr>
      <p:grpSpPr>
        <a:xfrm>
          <a:off x="0" y="0"/>
          <a:ext cx="0" cy="0"/>
          <a:chOff x="0" y="0"/>
          <a:chExt cx="0" cy="0"/>
        </a:xfrm>
      </p:grpSpPr>
      <p:graphicFrame>
        <p:nvGraphicFramePr>
          <p:cNvPr id="39" name="对象 38" hidden="1"/>
          <p:cNvGraphicFramePr>
            <a:graphicFrameLocks noChangeAspect="1"/>
          </p:cNvGraphicFramePr>
          <p:nvPr userDrawn="1">
            <p:custDataLst>
              <p:tags r:id="rId2"/>
            </p:custDataLst>
            <p:extLst>
              <p:ext uri="{D42A27DB-BD31-4B8C-83A1-F6EECF244321}">
                <p14:modId xmlns:p14="http://schemas.microsoft.com/office/powerpoint/2010/main" val="28055048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654" name="think-cell Slide" r:id="rId4" imgW="465" imgH="457" progId="TCLayout.ActiveDocument.1">
                  <p:embed/>
                </p:oleObj>
              </mc:Choice>
              <mc:Fallback>
                <p:oleObj name="think-cell Slide" r:id="rId4" imgW="465" imgH="45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Text Placeholder 13"/>
          <p:cNvSpPr>
            <a:spLocks noGrp="1"/>
          </p:cNvSpPr>
          <p:nvPr>
            <p:ph type="body" sz="quarter" idx="16" hasCustomPrompt="1"/>
          </p:nvPr>
        </p:nvSpPr>
        <p:spPr>
          <a:xfrm>
            <a:off x="265158" y="6103033"/>
            <a:ext cx="3586911" cy="207749"/>
          </a:xfrm>
        </p:spPr>
        <p:txBody>
          <a:bodyPr anchor="b" anchorCtr="0"/>
          <a:lstStyle>
            <a:lvl1pPr marL="0" indent="0">
              <a:spcBef>
                <a:spcPts val="0"/>
              </a:spcBef>
              <a:buNone/>
              <a:defRPr sz="1500">
                <a:latin typeface="Palatino Linotype" panose="02040502050505030304" pitchFamily="18" charset="0"/>
              </a:defRPr>
            </a:lvl1pPr>
            <a:lvl2pPr marL="191585" indent="0">
              <a:buNone/>
              <a:defRPr sz="1000"/>
            </a:lvl2pPr>
            <a:lvl3pPr marL="338624" indent="0">
              <a:buNone/>
              <a:defRPr sz="1000"/>
            </a:lvl3pPr>
            <a:lvl4pPr marL="535156" indent="0">
              <a:buNone/>
              <a:defRPr sz="1000"/>
            </a:lvl4pPr>
            <a:lvl5pPr marL="686388" indent="0">
              <a:buNone/>
              <a:defRPr sz="1000"/>
            </a:lvl5pPr>
          </a:lstStyle>
          <a:p>
            <a:pPr lvl="0"/>
            <a:r>
              <a:rPr lang="en-US" dirty="0"/>
              <a:t>Author(s) here</a:t>
            </a:r>
          </a:p>
        </p:txBody>
      </p:sp>
      <p:sp>
        <p:nvSpPr>
          <p:cNvPr id="9" name="Text Placeholder 8"/>
          <p:cNvSpPr>
            <a:spLocks noGrp="1"/>
          </p:cNvSpPr>
          <p:nvPr>
            <p:ph type="body" sz="quarter" idx="15" hasCustomPrompt="1"/>
          </p:nvPr>
        </p:nvSpPr>
        <p:spPr>
          <a:xfrm>
            <a:off x="265158" y="5074613"/>
            <a:ext cx="4297888" cy="207749"/>
          </a:xfrm>
          <a:noFill/>
          <a:ln w="6350" cap="flat">
            <a:noFill/>
          </a:ln>
        </p:spPr>
        <p:txBody>
          <a:bodyPr vert="horz" wrap="square" lIns="0" tIns="0" rIns="0" bIns="0" rtlCol="0">
            <a:spAutoFit/>
          </a:bodyPr>
          <a:lstStyle>
            <a:lvl1pPr marL="188568" indent="-188568">
              <a:buNone/>
              <a:defRPr lang="en-US" sz="1500" baseline="0" smtClean="0">
                <a:latin typeface="Palatino Linotype" panose="02040502050505030304" pitchFamily="18" charset="0"/>
              </a:defRPr>
            </a:lvl1pPr>
            <a:lvl2pPr>
              <a:defRPr lang="en-US" smtClean="0"/>
            </a:lvl2pPr>
            <a:lvl3pPr>
              <a:defRPr lang="en-US" smtClean="0"/>
            </a:lvl3pPr>
            <a:lvl4pPr>
              <a:defRPr lang="en-US" smtClean="0"/>
            </a:lvl4pPr>
            <a:lvl5pPr>
              <a:defRPr lang="en-US"/>
            </a:lvl5pPr>
          </a:lstStyle>
          <a:p>
            <a:r>
              <a:rPr lang="en-US" dirty="0"/>
              <a:t>Date here</a:t>
            </a:r>
          </a:p>
        </p:txBody>
      </p:sp>
      <p:sp>
        <p:nvSpPr>
          <p:cNvPr id="7" name="Text Placeholder 8"/>
          <p:cNvSpPr>
            <a:spLocks noGrp="1"/>
          </p:cNvSpPr>
          <p:nvPr>
            <p:ph type="body" sz="quarter" idx="12" hasCustomPrompt="1"/>
          </p:nvPr>
        </p:nvSpPr>
        <p:spPr>
          <a:xfrm>
            <a:off x="265158" y="4859205"/>
            <a:ext cx="4296719" cy="207749"/>
          </a:xfrm>
          <a:noFill/>
          <a:ln w="6350" cap="flat">
            <a:noFill/>
          </a:ln>
        </p:spPr>
        <p:txBody>
          <a:bodyPr/>
          <a:lstStyle>
            <a:lvl1pPr marL="0" indent="0">
              <a:spcBef>
                <a:spcPts val="0"/>
              </a:spcBef>
              <a:buFontTx/>
              <a:buNone/>
              <a:defRPr sz="1500" baseline="0">
                <a:latin typeface="Palatino Linotype" panose="02040502050505030304" pitchFamily="18" charset="0"/>
              </a:defRPr>
            </a:lvl1pPr>
          </a:lstStyle>
          <a:p>
            <a:r>
              <a:rPr lang="en-US" dirty="0"/>
              <a:t>Report type here</a:t>
            </a:r>
          </a:p>
        </p:txBody>
      </p:sp>
      <p:sp>
        <p:nvSpPr>
          <p:cNvPr id="3" name="Title 1"/>
          <p:cNvSpPr>
            <a:spLocks noGrp="1"/>
          </p:cNvSpPr>
          <p:nvPr>
            <p:ph type="ctrTitle" hasCustomPrompt="1"/>
          </p:nvPr>
        </p:nvSpPr>
        <p:spPr>
          <a:xfrm>
            <a:off x="265157" y="3595829"/>
            <a:ext cx="9361046" cy="498713"/>
          </a:xfrm>
          <a:prstGeom prst="rect">
            <a:avLst/>
          </a:prstGeom>
          <a:noFill/>
          <a:ln w="6350" cap="flat">
            <a:noFill/>
          </a:ln>
        </p:spPr>
        <p:txBody>
          <a:bodyPr lIns="95793" tIns="47896" rIns="95793" bIns="47896"/>
          <a:lstStyle>
            <a:lvl1pPr algn="l">
              <a:lnSpc>
                <a:spcPct val="90000"/>
              </a:lnSpc>
              <a:defRPr sz="3800" b="0" baseline="0">
                <a:latin typeface="Arial" pitchFamily="34" charset="0"/>
                <a:cs typeface="Arial" pitchFamily="34" charset="0"/>
              </a:defRPr>
            </a:lvl1pPr>
          </a:lstStyle>
          <a:p>
            <a:r>
              <a:rPr lang="en-US" dirty="0"/>
              <a:t>Presentation title here</a:t>
            </a:r>
            <a:endParaRPr lang="de-DE" dirty="0"/>
          </a:p>
        </p:txBody>
      </p:sp>
      <p:cxnSp>
        <p:nvCxnSpPr>
          <p:cNvPr id="5" name="Straight Connector 4"/>
          <p:cNvCxnSpPr/>
          <p:nvPr/>
        </p:nvCxnSpPr>
        <p:spPr>
          <a:xfrm>
            <a:off x="0" y="3458637"/>
            <a:ext cx="9904413" cy="0"/>
          </a:xfrm>
          <a:prstGeom prst="line">
            <a:avLst/>
          </a:prstGeom>
          <a:ln w="6350" cap="flat">
            <a:solidFill>
              <a:srgbClr val="B42100"/>
            </a:solidFill>
            <a:miter lim="800000"/>
          </a:ln>
        </p:spPr>
        <p:style>
          <a:lnRef idx="1">
            <a:schemeClr val="accent1"/>
          </a:lnRef>
          <a:fillRef idx="0">
            <a:schemeClr val="accent1"/>
          </a:fillRef>
          <a:effectRef idx="0">
            <a:schemeClr val="accent1"/>
          </a:effectRef>
          <a:fontRef idx="minor">
            <a:schemeClr val="tx1"/>
          </a:fontRef>
        </p:style>
      </p:cxnSp>
      <p:sp>
        <p:nvSpPr>
          <p:cNvPr id="4" name="Subtitle 2"/>
          <p:cNvSpPr>
            <a:spLocks noGrp="1"/>
          </p:cNvSpPr>
          <p:nvPr>
            <p:ph type="subTitle" idx="1" hasCustomPrompt="1"/>
          </p:nvPr>
        </p:nvSpPr>
        <p:spPr>
          <a:xfrm>
            <a:off x="265157" y="3065354"/>
            <a:ext cx="9361046" cy="263149"/>
          </a:xfrm>
          <a:prstGeom prst="rect">
            <a:avLst/>
          </a:prstGeom>
          <a:noFill/>
          <a:ln w="6350" cap="flat">
            <a:noFill/>
          </a:ln>
        </p:spPr>
        <p:txBody>
          <a:bodyPr/>
          <a:lstStyle>
            <a:lvl1pPr marL="0" indent="0" algn="l">
              <a:lnSpc>
                <a:spcPct val="90000"/>
              </a:lnSpc>
              <a:spcBef>
                <a:spcPts val="943"/>
              </a:spcBef>
              <a:buNone/>
              <a:defRPr sz="1900" b="1" i="0" baseline="0">
                <a:solidFill>
                  <a:schemeClr val="tx1"/>
                </a:solidFill>
                <a:latin typeface="Arial" pitchFamily="34" charset="0"/>
                <a:cs typeface="Arial" pitchFamily="34" charset="0"/>
              </a:defRPr>
            </a:lvl1pPr>
            <a:lvl2pPr marL="478963" indent="0" algn="ctr">
              <a:buNone/>
              <a:defRPr>
                <a:solidFill>
                  <a:schemeClr val="tx1">
                    <a:tint val="75000"/>
                  </a:schemeClr>
                </a:solidFill>
              </a:defRPr>
            </a:lvl2pPr>
            <a:lvl3pPr marL="957925" indent="0" algn="ctr">
              <a:buNone/>
              <a:defRPr>
                <a:solidFill>
                  <a:schemeClr val="tx1">
                    <a:tint val="75000"/>
                  </a:schemeClr>
                </a:solidFill>
              </a:defRPr>
            </a:lvl3pPr>
            <a:lvl4pPr marL="1436888" indent="0" algn="ctr">
              <a:buNone/>
              <a:defRPr>
                <a:solidFill>
                  <a:schemeClr val="tx1">
                    <a:tint val="75000"/>
                  </a:schemeClr>
                </a:solidFill>
              </a:defRPr>
            </a:lvl4pPr>
            <a:lvl5pPr marL="1915851" indent="0" algn="ctr">
              <a:buNone/>
              <a:defRPr>
                <a:solidFill>
                  <a:schemeClr val="tx1">
                    <a:tint val="75000"/>
                  </a:schemeClr>
                </a:solidFill>
              </a:defRPr>
            </a:lvl5pPr>
            <a:lvl6pPr marL="2394814" indent="0" algn="ctr">
              <a:buNone/>
              <a:defRPr>
                <a:solidFill>
                  <a:schemeClr val="tx1">
                    <a:tint val="75000"/>
                  </a:schemeClr>
                </a:solidFill>
              </a:defRPr>
            </a:lvl6pPr>
            <a:lvl7pPr marL="2873776" indent="0" algn="ctr">
              <a:buNone/>
              <a:defRPr>
                <a:solidFill>
                  <a:schemeClr val="tx1">
                    <a:tint val="75000"/>
                  </a:schemeClr>
                </a:solidFill>
              </a:defRPr>
            </a:lvl7pPr>
            <a:lvl8pPr marL="3352739" indent="0" algn="ctr">
              <a:buNone/>
              <a:defRPr>
                <a:solidFill>
                  <a:schemeClr val="tx1">
                    <a:tint val="75000"/>
                  </a:schemeClr>
                </a:solidFill>
              </a:defRPr>
            </a:lvl8pPr>
            <a:lvl9pPr marL="3831702" indent="0" algn="ctr">
              <a:buNone/>
              <a:defRPr>
                <a:solidFill>
                  <a:schemeClr val="tx1">
                    <a:tint val="75000"/>
                  </a:schemeClr>
                </a:solidFill>
              </a:defRPr>
            </a:lvl9pPr>
          </a:lstStyle>
          <a:p>
            <a:r>
              <a:rPr lang="en-US" dirty="0"/>
              <a:t>Presentation subtitle or client name here</a:t>
            </a:r>
          </a:p>
        </p:txBody>
      </p:sp>
      <p:sp>
        <p:nvSpPr>
          <p:cNvPr id="10" name="矩形 9"/>
          <p:cNvSpPr/>
          <p:nvPr userDrawn="1"/>
        </p:nvSpPr>
        <p:spPr>
          <a:xfrm>
            <a:off x="2647950" y="-3775"/>
            <a:ext cx="7254875" cy="922898"/>
          </a:xfrm>
          <a:prstGeom prst="rect">
            <a:avLst/>
          </a:prstGeom>
          <a:solidFill>
            <a:srgbClr val="B42100"/>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pic>
        <p:nvPicPr>
          <p:cNvPr id="11" name="Picture 2" descr="http://statics.phbs.pku.edu.cn/uploadfile/2017/1122/20171122092949636.png"/>
          <p:cNvPicPr>
            <a:picLocks noChangeAspect="1" noChangeArrowheads="1"/>
          </p:cNvPicPr>
          <p:nvPr userDrawn="1"/>
        </p:nvPicPr>
        <p:blipFill rotWithShape="1">
          <a:blip r:embed="rId6"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l="16631" t="26645" r="15215" b="28137"/>
          <a:stretch/>
        </p:blipFill>
        <p:spPr bwMode="auto">
          <a:xfrm>
            <a:off x="364939" y="166237"/>
            <a:ext cx="1957908" cy="6696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064939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R Disclaimer">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extLst>
              <p:ext uri="{D42A27DB-BD31-4B8C-83A1-F6EECF244321}">
                <p14:modId xmlns:p14="http://schemas.microsoft.com/office/powerpoint/2010/main" val="23919565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676" name="think-cell Slide" r:id="rId4" imgW="465" imgH="457" progId="TCLayout.ActiveDocument.1">
                  <p:embed/>
                </p:oleObj>
              </mc:Choice>
              <mc:Fallback>
                <p:oleObj name="think-cell Slide" r:id="rId4" imgW="465" imgH="45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Placeholder 1"/>
          <p:cNvSpPr>
            <a:spLocks noGrp="1"/>
          </p:cNvSpPr>
          <p:nvPr>
            <p:ph type="title"/>
          </p:nvPr>
        </p:nvSpPr>
        <p:spPr bwMode="auto">
          <a:xfrm>
            <a:off x="264840" y="296863"/>
            <a:ext cx="9368110" cy="61118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a:latin typeface="Palatino Linotype" panose="02040502050505030304" pitchFamily="18" charset="0"/>
                <a:ea typeface="华文楷体" panose="02010600040101010101" pitchFamily="2" charset="-122"/>
              </a:defRPr>
            </a:lvl1pPr>
          </a:lstStyle>
          <a:p>
            <a:pPr lvl="0"/>
            <a:r>
              <a:rPr lang="en-US" dirty="0"/>
              <a:t>Click to edit Master title style</a:t>
            </a:r>
          </a:p>
        </p:txBody>
      </p:sp>
      <p:pic>
        <p:nvPicPr>
          <p:cNvPr id="4" name="Picture 2" descr="http://statics.phbs.pku.edu.cn/uploadfile/2017/1122/20171122092949636.png"/>
          <p:cNvPicPr>
            <a:picLocks noChangeAspect="1" noChangeArrowheads="1"/>
          </p:cNvPicPr>
          <p:nvPr userDrawn="1"/>
        </p:nvPicPr>
        <p:blipFill rotWithShape="1">
          <a:blip r:embed="rId6"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l="16631" t="26645" r="15215" b="28137"/>
          <a:stretch/>
        </p:blipFill>
        <p:spPr bwMode="auto">
          <a:xfrm>
            <a:off x="7675042" y="189434"/>
            <a:ext cx="1957908" cy="6696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10767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R TitleAndText">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extLst>
              <p:ext uri="{D42A27DB-BD31-4B8C-83A1-F6EECF244321}">
                <p14:modId xmlns:p14="http://schemas.microsoft.com/office/powerpoint/2010/main" val="16440824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701" name="think-cell Slide" r:id="rId4" imgW="465" imgH="457" progId="TCLayout.ActiveDocument.1">
                  <p:embed/>
                </p:oleObj>
              </mc:Choice>
              <mc:Fallback>
                <p:oleObj name="think-cell Slide" r:id="rId4" imgW="465" imgH="45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hasCustomPrompt="1"/>
          </p:nvPr>
        </p:nvSpPr>
        <p:spPr>
          <a:xfrm>
            <a:off x="264806" y="1160486"/>
            <a:ext cx="9358500" cy="1544846"/>
          </a:xfrm>
        </p:spPr>
        <p:txBody>
          <a:bodyPr/>
          <a:lstStyle>
            <a:lvl1pPr marL="188568" indent="-188568">
              <a:lnSpc>
                <a:spcPct val="110000"/>
              </a:lnSpc>
              <a:buClr>
                <a:srgbClr val="B42100"/>
              </a:buClr>
              <a:defRPr baseline="0">
                <a:latin typeface="Palatino Linotype" panose="02040502050505030304" pitchFamily="18" charset="0"/>
                <a:ea typeface="华文楷体" panose="02010600040101010101" pitchFamily="2" charset="-122"/>
              </a:defRPr>
            </a:lvl1pPr>
            <a:lvl2pPr>
              <a:defRPr>
                <a:latin typeface="Palatino Linotype" panose="02040502050505030304" pitchFamily="18" charset="0"/>
                <a:ea typeface="华文楷体" panose="02010600040101010101" pitchFamily="2" charset="-122"/>
              </a:defRPr>
            </a:lvl2pPr>
            <a:lvl3pPr marL="895350" indent="-171450">
              <a:lnSpc>
                <a:spcPct val="110000"/>
              </a:lnSpc>
              <a:spcBef>
                <a:spcPct val="0"/>
              </a:spcBef>
              <a:buClr>
                <a:srgbClr val="B42100"/>
              </a:buClr>
              <a:buFont typeface="Arial" pitchFamily="34" charset="0"/>
              <a:buChar char="•"/>
              <a:tabLst>
                <a:tab pos="1162050" algn="l"/>
              </a:tabLst>
              <a:defRPr>
                <a:latin typeface="Palatino Linotype" panose="02040502050505030304" pitchFamily="18" charset="0"/>
                <a:ea typeface="华文楷体" panose="02010600040101010101" pitchFamily="2" charset="-122"/>
              </a:defRPr>
            </a:lvl3pPr>
            <a:lvl4pPr marL="1162050" indent="-171450">
              <a:lnSpc>
                <a:spcPct val="110000"/>
              </a:lnSpc>
              <a:spcBef>
                <a:spcPct val="0"/>
              </a:spcBef>
              <a:buClr>
                <a:schemeClr val="bg1">
                  <a:lumMod val="75000"/>
                </a:schemeClr>
              </a:buClr>
              <a:buFont typeface="Vrinda" panose="020B0502040204020203" pitchFamily="34" charset="0"/>
              <a:buChar char="-"/>
              <a:tabLst>
                <a:tab pos="1162050" algn="l"/>
              </a:tabLst>
              <a:defRPr>
                <a:latin typeface="Palatino Linotype" panose="02040502050505030304" pitchFamily="18" charset="0"/>
                <a:ea typeface="华文楷体" panose="02010600040101010101" pitchFamily="2" charset="-122"/>
              </a:defRPr>
            </a:lvl4pPr>
            <a:lvl5pPr>
              <a:defRPr>
                <a:latin typeface="Palatino Linotype" panose="02040502050505030304" pitchFamily="18" charset="0"/>
                <a:ea typeface="华文楷体" panose="02010600040101010101" pitchFamily="2" charset="-122"/>
              </a:defRPr>
            </a:lvl5pPr>
          </a:lstStyle>
          <a:p>
            <a:pPr marL="188568" indent="-188568">
              <a:lnSpc>
                <a:spcPct val="110000"/>
              </a:lnSpc>
              <a:buClr>
                <a:srgbClr val="B42100"/>
              </a:buClr>
            </a:pPr>
            <a:r>
              <a:rPr kumimoji="1" lang="en-US" altLang="zh-CN" sz="1600" dirty="0">
                <a:ea typeface="PMingLiU" pitchFamily="18" charset="-120"/>
              </a:rPr>
              <a:t>Text</a:t>
            </a:r>
            <a:r>
              <a:rPr kumimoji="1" lang="en-US" altLang="zh-CN" sz="1600" baseline="0" dirty="0">
                <a:ea typeface="PMingLiU" pitchFamily="18" charset="-120"/>
              </a:rPr>
              <a:t> on first level here</a:t>
            </a:r>
            <a:endParaRPr kumimoji="1" lang="en-US" altLang="zh-CN" sz="1600" dirty="0">
              <a:ea typeface="PMingLiU" pitchFamily="18" charset="-120"/>
            </a:endParaRPr>
          </a:p>
          <a:p>
            <a:pPr marL="527050" lvl="1" indent="-180975" fontAlgn="b">
              <a:lnSpc>
                <a:spcPct val="110000"/>
              </a:lnSpc>
              <a:buClr>
                <a:schemeClr val="bg1">
                  <a:lumMod val="75000"/>
                </a:schemeClr>
              </a:buClr>
              <a:defRPr/>
            </a:pPr>
            <a:r>
              <a:rPr lang="en-US" altLang="zh-CN" sz="1600" dirty="0">
                <a:latin typeface="Palatino Linotype" panose="02040502050505030304" pitchFamily="18" charset="0"/>
              </a:rPr>
              <a:t>Second level</a:t>
            </a:r>
          </a:p>
          <a:p>
            <a:pPr marL="895350" lvl="2" indent="-171450">
              <a:lnSpc>
                <a:spcPct val="110000"/>
              </a:lnSpc>
              <a:spcBef>
                <a:spcPct val="0"/>
              </a:spcBef>
              <a:buClr>
                <a:srgbClr val="B42100"/>
              </a:buClr>
              <a:buFont typeface="Arial" pitchFamily="34" charset="0"/>
              <a:buChar char="•"/>
              <a:tabLst>
                <a:tab pos="1162050" algn="l"/>
              </a:tabLst>
            </a:pPr>
            <a:r>
              <a:rPr kumimoji="1" lang="en-US" altLang="zh-CN" sz="1600" dirty="0">
                <a:latin typeface="Palatino Linotype" panose="02040502050505030304" pitchFamily="18" charset="0"/>
                <a:ea typeface="PMingLiU" pitchFamily="18" charset="-120"/>
              </a:rPr>
              <a:t>Third level</a:t>
            </a:r>
          </a:p>
          <a:p>
            <a:pPr marL="1162050" lvl="3" indent="-171450">
              <a:lnSpc>
                <a:spcPct val="110000"/>
              </a:lnSpc>
              <a:spcBef>
                <a:spcPct val="0"/>
              </a:spcBef>
              <a:buClr>
                <a:schemeClr val="bg1">
                  <a:lumMod val="75000"/>
                </a:schemeClr>
              </a:buClr>
              <a:buFont typeface="Vrinda" panose="020B0502040204020203" pitchFamily="34" charset="0"/>
              <a:buChar char="-"/>
              <a:tabLst>
                <a:tab pos="1162050" algn="l"/>
              </a:tabLst>
            </a:pPr>
            <a:r>
              <a:rPr kumimoji="1" lang="en-US" altLang="zh-CN" sz="1600" dirty="0">
                <a:latin typeface="Palatino Linotype" panose="02040502050505030304" pitchFamily="18" charset="0"/>
                <a:ea typeface="PMingLiU" pitchFamily="18" charset="-120"/>
              </a:rPr>
              <a:t>Content</a:t>
            </a:r>
          </a:p>
          <a:p>
            <a:pPr marL="628650" lvl="1" indent="-180975" fontAlgn="b">
              <a:lnSpc>
                <a:spcPct val="110000"/>
              </a:lnSpc>
              <a:buClr>
                <a:schemeClr val="bg1">
                  <a:lumMod val="75000"/>
                </a:schemeClr>
              </a:buClr>
              <a:defRPr/>
            </a:pPr>
            <a:endParaRPr lang="en-US" altLang="zh-CN" sz="1600" dirty="0">
              <a:latin typeface="Palatino Linotype" panose="02040502050505030304" pitchFamily="18" charset="0"/>
            </a:endParaRPr>
          </a:p>
        </p:txBody>
      </p:sp>
      <p:sp>
        <p:nvSpPr>
          <p:cNvPr id="6" name="Title Placeholder 1"/>
          <p:cNvSpPr>
            <a:spLocks noGrp="1"/>
          </p:cNvSpPr>
          <p:nvPr>
            <p:ph type="title"/>
          </p:nvPr>
        </p:nvSpPr>
        <p:spPr bwMode="auto">
          <a:xfrm>
            <a:off x="264840" y="296863"/>
            <a:ext cx="9368110" cy="61118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a:latin typeface="Palatino Linotype" panose="02040502050505030304" pitchFamily="18" charset="0"/>
              </a:defRPr>
            </a:lvl1pPr>
          </a:lstStyle>
          <a:p>
            <a:pPr lvl="0"/>
            <a:r>
              <a:rPr lang="en-US" dirty="0"/>
              <a:t>Click to edit Master title style</a:t>
            </a:r>
          </a:p>
        </p:txBody>
      </p:sp>
    </p:spTree>
    <p:extLst>
      <p:ext uri="{BB962C8B-B14F-4D97-AF65-F5344CB8AC3E}">
        <p14:creationId xmlns:p14="http://schemas.microsoft.com/office/powerpoint/2010/main" val="39127405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R Onlytext2">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extLst>
              <p:ext uri="{D42A27DB-BD31-4B8C-83A1-F6EECF244321}">
                <p14:modId xmlns:p14="http://schemas.microsoft.com/office/powerpoint/2010/main" val="39601070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725" name="think-cell Slide" r:id="rId4" imgW="465" imgH="457" progId="TCLayout.ActiveDocument.1">
                  <p:embed/>
                </p:oleObj>
              </mc:Choice>
              <mc:Fallback>
                <p:oleObj name="think-cell Slide" r:id="rId4" imgW="465" imgH="45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3"/>
          <p:cNvSpPr>
            <a:spLocks noGrp="1"/>
          </p:cNvSpPr>
          <p:nvPr>
            <p:ph type="body" sz="quarter" idx="10" hasCustomPrompt="1"/>
          </p:nvPr>
        </p:nvSpPr>
        <p:spPr>
          <a:xfrm>
            <a:off x="264806" y="1376363"/>
            <a:ext cx="4531032" cy="4933950"/>
          </a:xfrm>
        </p:spPr>
        <p:txBody>
          <a:bodyPr/>
          <a:lstStyle>
            <a:lvl1pPr marL="188568" indent="-188568">
              <a:lnSpc>
                <a:spcPct val="110000"/>
              </a:lnSpc>
              <a:buClr>
                <a:srgbClr val="B42100"/>
              </a:buClr>
              <a:defRPr baseline="0">
                <a:latin typeface="Palatino Linotype" panose="02040502050505030304" pitchFamily="18" charset="0"/>
                <a:ea typeface="华文楷体" panose="02010600040101010101" pitchFamily="2" charset="-122"/>
              </a:defRPr>
            </a:lvl1pPr>
            <a:lvl2pPr>
              <a:defRPr>
                <a:latin typeface="Palatino Linotype" panose="02040502050505030304" pitchFamily="18" charset="0"/>
                <a:ea typeface="华文楷体" panose="02010600040101010101" pitchFamily="2" charset="-122"/>
              </a:defRPr>
            </a:lvl2pPr>
            <a:lvl3pPr marL="895350" indent="-171450">
              <a:lnSpc>
                <a:spcPct val="110000"/>
              </a:lnSpc>
              <a:spcBef>
                <a:spcPct val="0"/>
              </a:spcBef>
              <a:buClr>
                <a:srgbClr val="B42100"/>
              </a:buClr>
              <a:buFont typeface="Arial" pitchFamily="34" charset="0"/>
              <a:buChar char="•"/>
              <a:tabLst>
                <a:tab pos="1162050" algn="l"/>
              </a:tabLst>
              <a:defRPr>
                <a:latin typeface="Palatino Linotype" panose="02040502050505030304" pitchFamily="18" charset="0"/>
                <a:ea typeface="华文楷体" panose="02010600040101010101" pitchFamily="2" charset="-122"/>
              </a:defRPr>
            </a:lvl3pPr>
            <a:lvl4pPr marL="1162050" indent="-171450">
              <a:lnSpc>
                <a:spcPct val="110000"/>
              </a:lnSpc>
              <a:spcBef>
                <a:spcPct val="0"/>
              </a:spcBef>
              <a:buClr>
                <a:schemeClr val="bg1">
                  <a:lumMod val="75000"/>
                </a:schemeClr>
              </a:buClr>
              <a:buFont typeface="Vrinda" panose="020B0502040204020203" pitchFamily="34" charset="0"/>
              <a:buChar char="-"/>
              <a:tabLst>
                <a:tab pos="1162050" algn="l"/>
              </a:tabLst>
              <a:defRPr>
                <a:latin typeface="Palatino Linotype" panose="02040502050505030304" pitchFamily="18" charset="0"/>
                <a:ea typeface="华文楷体" panose="02010600040101010101" pitchFamily="2" charset="-122"/>
              </a:defRPr>
            </a:lvl4pPr>
            <a:lvl5pPr>
              <a:defRPr>
                <a:latin typeface="Palatino Linotype" panose="02040502050505030304" pitchFamily="18" charset="0"/>
                <a:ea typeface="华文楷体" panose="02010600040101010101" pitchFamily="2" charset="-122"/>
              </a:defRPr>
            </a:lvl5pPr>
          </a:lstStyle>
          <a:p>
            <a:pPr marL="188568" indent="-188568">
              <a:lnSpc>
                <a:spcPct val="110000"/>
              </a:lnSpc>
              <a:buClr>
                <a:srgbClr val="B42100"/>
              </a:buClr>
            </a:pPr>
            <a:r>
              <a:rPr kumimoji="1" lang="en-US" altLang="zh-CN" sz="1600" dirty="0">
                <a:ea typeface="PMingLiU" pitchFamily="18" charset="-120"/>
              </a:rPr>
              <a:t>Text</a:t>
            </a:r>
            <a:r>
              <a:rPr kumimoji="1" lang="en-US" altLang="zh-CN" sz="1600" baseline="0" dirty="0">
                <a:ea typeface="PMingLiU" pitchFamily="18" charset="-120"/>
              </a:rPr>
              <a:t> on first level here</a:t>
            </a:r>
            <a:endParaRPr kumimoji="1" lang="en-US" altLang="zh-CN" sz="1600" dirty="0">
              <a:ea typeface="PMingLiU" pitchFamily="18" charset="-120"/>
            </a:endParaRPr>
          </a:p>
          <a:p>
            <a:pPr marL="527050" lvl="1" indent="-180975" fontAlgn="b">
              <a:lnSpc>
                <a:spcPct val="110000"/>
              </a:lnSpc>
              <a:buClr>
                <a:schemeClr val="bg1">
                  <a:lumMod val="75000"/>
                </a:schemeClr>
              </a:buClr>
              <a:defRPr/>
            </a:pPr>
            <a:r>
              <a:rPr lang="en-US" altLang="zh-CN" sz="1600" dirty="0">
                <a:latin typeface="Palatino Linotype" panose="02040502050505030304" pitchFamily="18" charset="0"/>
              </a:rPr>
              <a:t>Second level</a:t>
            </a:r>
          </a:p>
          <a:p>
            <a:pPr marL="895350" lvl="2" indent="-171450">
              <a:lnSpc>
                <a:spcPct val="110000"/>
              </a:lnSpc>
              <a:spcBef>
                <a:spcPct val="0"/>
              </a:spcBef>
              <a:buClr>
                <a:srgbClr val="B42100"/>
              </a:buClr>
              <a:buFont typeface="Arial" pitchFamily="34" charset="0"/>
              <a:buChar char="•"/>
              <a:tabLst>
                <a:tab pos="1162050" algn="l"/>
              </a:tabLst>
            </a:pPr>
            <a:r>
              <a:rPr kumimoji="1" lang="en-US" altLang="zh-CN" sz="1600" dirty="0">
                <a:latin typeface="Palatino Linotype" panose="02040502050505030304" pitchFamily="18" charset="0"/>
                <a:ea typeface="PMingLiU" pitchFamily="18" charset="-120"/>
              </a:rPr>
              <a:t>Third level</a:t>
            </a:r>
          </a:p>
          <a:p>
            <a:pPr marL="1162050" lvl="3" indent="-171450">
              <a:lnSpc>
                <a:spcPct val="110000"/>
              </a:lnSpc>
              <a:spcBef>
                <a:spcPct val="0"/>
              </a:spcBef>
              <a:buClr>
                <a:schemeClr val="bg1">
                  <a:lumMod val="75000"/>
                </a:schemeClr>
              </a:buClr>
              <a:buFont typeface="Vrinda" panose="020B0502040204020203" pitchFamily="34" charset="0"/>
              <a:buChar char="-"/>
              <a:tabLst>
                <a:tab pos="1162050" algn="l"/>
              </a:tabLst>
            </a:pPr>
            <a:r>
              <a:rPr kumimoji="1" lang="en-US" altLang="zh-CN" sz="1600" dirty="0">
                <a:latin typeface="Palatino Linotype" panose="02040502050505030304" pitchFamily="18" charset="0"/>
                <a:ea typeface="PMingLiU" pitchFamily="18" charset="-120"/>
              </a:rPr>
              <a:t>Content</a:t>
            </a:r>
          </a:p>
          <a:p>
            <a:pPr marL="628650" lvl="1" indent="-180975" fontAlgn="b">
              <a:lnSpc>
                <a:spcPct val="110000"/>
              </a:lnSpc>
              <a:buClr>
                <a:schemeClr val="bg1">
                  <a:lumMod val="75000"/>
                </a:schemeClr>
              </a:buClr>
              <a:defRPr/>
            </a:pPr>
            <a:endParaRPr lang="en-US" altLang="zh-CN" sz="1600" dirty="0">
              <a:latin typeface="Palatino Linotype" panose="02040502050505030304" pitchFamily="18" charset="0"/>
            </a:endParaRPr>
          </a:p>
        </p:txBody>
      </p:sp>
      <p:sp>
        <p:nvSpPr>
          <p:cNvPr id="9" name="Title Placeholder 1"/>
          <p:cNvSpPr>
            <a:spLocks noGrp="1"/>
          </p:cNvSpPr>
          <p:nvPr>
            <p:ph type="title"/>
          </p:nvPr>
        </p:nvSpPr>
        <p:spPr bwMode="auto">
          <a:xfrm>
            <a:off x="264840" y="296863"/>
            <a:ext cx="9368110" cy="61118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a:latin typeface="Palatino Linotype" panose="02040502050505030304" pitchFamily="18" charset="0"/>
              </a:defRPr>
            </a:lvl1pPr>
          </a:lstStyle>
          <a:p>
            <a:pPr lvl="0"/>
            <a:r>
              <a:rPr lang="en-US" dirty="0"/>
              <a:t>Click to edit Master title style</a:t>
            </a:r>
          </a:p>
        </p:txBody>
      </p:sp>
      <p:sp>
        <p:nvSpPr>
          <p:cNvPr id="5" name="Text Placeholder 3"/>
          <p:cNvSpPr>
            <a:spLocks noGrp="1"/>
          </p:cNvSpPr>
          <p:nvPr>
            <p:ph type="body" sz="quarter" idx="11" hasCustomPrompt="1"/>
          </p:nvPr>
        </p:nvSpPr>
        <p:spPr>
          <a:xfrm>
            <a:off x="5085277" y="1376363"/>
            <a:ext cx="4531032" cy="4933950"/>
          </a:xfrm>
        </p:spPr>
        <p:txBody>
          <a:bodyPr/>
          <a:lstStyle>
            <a:lvl1pPr marL="188568" indent="-188568">
              <a:lnSpc>
                <a:spcPct val="110000"/>
              </a:lnSpc>
              <a:buClr>
                <a:srgbClr val="B42100"/>
              </a:buClr>
              <a:defRPr baseline="0">
                <a:latin typeface="Palatino Linotype" panose="02040502050505030304" pitchFamily="18" charset="0"/>
                <a:ea typeface="华文楷体" panose="02010600040101010101" pitchFamily="2" charset="-122"/>
              </a:defRPr>
            </a:lvl1pPr>
            <a:lvl2pPr>
              <a:defRPr>
                <a:latin typeface="Palatino Linotype" panose="02040502050505030304" pitchFamily="18" charset="0"/>
                <a:ea typeface="华文楷体" panose="02010600040101010101" pitchFamily="2" charset="-122"/>
              </a:defRPr>
            </a:lvl2pPr>
            <a:lvl3pPr marL="895350" indent="-171450">
              <a:lnSpc>
                <a:spcPct val="110000"/>
              </a:lnSpc>
              <a:spcBef>
                <a:spcPct val="0"/>
              </a:spcBef>
              <a:buClr>
                <a:srgbClr val="B42100"/>
              </a:buClr>
              <a:buFont typeface="Arial" pitchFamily="34" charset="0"/>
              <a:buChar char="•"/>
              <a:tabLst>
                <a:tab pos="1162050" algn="l"/>
              </a:tabLst>
              <a:defRPr>
                <a:latin typeface="Palatino Linotype" panose="02040502050505030304" pitchFamily="18" charset="0"/>
                <a:ea typeface="华文楷体" panose="02010600040101010101" pitchFamily="2" charset="-122"/>
              </a:defRPr>
            </a:lvl3pPr>
            <a:lvl4pPr marL="1162050" indent="-171450">
              <a:lnSpc>
                <a:spcPct val="110000"/>
              </a:lnSpc>
              <a:spcBef>
                <a:spcPct val="0"/>
              </a:spcBef>
              <a:buClr>
                <a:schemeClr val="bg1">
                  <a:lumMod val="75000"/>
                </a:schemeClr>
              </a:buClr>
              <a:buFont typeface="Vrinda" panose="020B0502040204020203" pitchFamily="34" charset="0"/>
              <a:buChar char="-"/>
              <a:tabLst>
                <a:tab pos="1162050" algn="l"/>
              </a:tabLst>
              <a:defRPr>
                <a:latin typeface="Palatino Linotype" panose="02040502050505030304" pitchFamily="18" charset="0"/>
                <a:ea typeface="华文楷体" panose="02010600040101010101" pitchFamily="2" charset="-122"/>
              </a:defRPr>
            </a:lvl4pPr>
            <a:lvl5pPr>
              <a:defRPr>
                <a:latin typeface="Palatino Linotype" panose="02040502050505030304" pitchFamily="18" charset="0"/>
                <a:ea typeface="华文楷体" panose="02010600040101010101" pitchFamily="2" charset="-122"/>
              </a:defRPr>
            </a:lvl5pPr>
          </a:lstStyle>
          <a:p>
            <a:pPr marL="188568" indent="-188568">
              <a:lnSpc>
                <a:spcPct val="110000"/>
              </a:lnSpc>
              <a:buClr>
                <a:srgbClr val="B42100"/>
              </a:buClr>
            </a:pPr>
            <a:r>
              <a:rPr kumimoji="1" lang="en-US" altLang="zh-CN" sz="1600" dirty="0">
                <a:ea typeface="PMingLiU" pitchFamily="18" charset="-120"/>
              </a:rPr>
              <a:t>Text</a:t>
            </a:r>
            <a:r>
              <a:rPr kumimoji="1" lang="en-US" altLang="zh-CN" sz="1600" baseline="0" dirty="0">
                <a:ea typeface="PMingLiU" pitchFamily="18" charset="-120"/>
              </a:rPr>
              <a:t> on first level here</a:t>
            </a:r>
            <a:endParaRPr kumimoji="1" lang="en-US" altLang="zh-CN" sz="1600" dirty="0">
              <a:ea typeface="PMingLiU" pitchFamily="18" charset="-120"/>
            </a:endParaRPr>
          </a:p>
          <a:p>
            <a:pPr marL="527050" lvl="1" indent="-180975" fontAlgn="b">
              <a:lnSpc>
                <a:spcPct val="110000"/>
              </a:lnSpc>
              <a:buClr>
                <a:schemeClr val="bg1">
                  <a:lumMod val="75000"/>
                </a:schemeClr>
              </a:buClr>
              <a:defRPr/>
            </a:pPr>
            <a:r>
              <a:rPr lang="en-US" altLang="zh-CN" sz="1600" dirty="0">
                <a:latin typeface="Palatino Linotype" panose="02040502050505030304" pitchFamily="18" charset="0"/>
              </a:rPr>
              <a:t>Second level</a:t>
            </a:r>
          </a:p>
          <a:p>
            <a:pPr marL="895350" lvl="2" indent="-171450">
              <a:lnSpc>
                <a:spcPct val="110000"/>
              </a:lnSpc>
              <a:spcBef>
                <a:spcPct val="0"/>
              </a:spcBef>
              <a:buClr>
                <a:srgbClr val="B42100"/>
              </a:buClr>
              <a:buFont typeface="Arial" pitchFamily="34" charset="0"/>
              <a:buChar char="•"/>
              <a:tabLst>
                <a:tab pos="1162050" algn="l"/>
              </a:tabLst>
            </a:pPr>
            <a:r>
              <a:rPr kumimoji="1" lang="en-US" altLang="zh-CN" sz="1600" dirty="0">
                <a:latin typeface="Palatino Linotype" panose="02040502050505030304" pitchFamily="18" charset="0"/>
                <a:ea typeface="PMingLiU" pitchFamily="18" charset="-120"/>
              </a:rPr>
              <a:t>Third level</a:t>
            </a:r>
          </a:p>
          <a:p>
            <a:pPr marL="1162050" lvl="3" indent="-171450">
              <a:lnSpc>
                <a:spcPct val="110000"/>
              </a:lnSpc>
              <a:spcBef>
                <a:spcPct val="0"/>
              </a:spcBef>
              <a:buClr>
                <a:schemeClr val="bg1">
                  <a:lumMod val="75000"/>
                </a:schemeClr>
              </a:buClr>
              <a:buFont typeface="Vrinda" panose="020B0502040204020203" pitchFamily="34" charset="0"/>
              <a:buChar char="-"/>
              <a:tabLst>
                <a:tab pos="1162050" algn="l"/>
              </a:tabLst>
            </a:pPr>
            <a:r>
              <a:rPr kumimoji="1" lang="en-US" altLang="zh-CN" sz="1600" dirty="0">
                <a:latin typeface="Palatino Linotype" panose="02040502050505030304" pitchFamily="18" charset="0"/>
                <a:ea typeface="PMingLiU" pitchFamily="18" charset="-120"/>
              </a:rPr>
              <a:t>Content</a:t>
            </a:r>
          </a:p>
          <a:p>
            <a:pPr marL="628650" lvl="1" indent="-180975" fontAlgn="b">
              <a:lnSpc>
                <a:spcPct val="110000"/>
              </a:lnSpc>
              <a:buClr>
                <a:schemeClr val="bg1">
                  <a:lumMod val="75000"/>
                </a:schemeClr>
              </a:buClr>
              <a:defRPr/>
            </a:pPr>
            <a:endParaRPr lang="en-US" altLang="zh-CN" sz="1600" dirty="0">
              <a:latin typeface="Palatino Linotype" panose="02040502050505030304" pitchFamily="18" charset="0"/>
            </a:endParaRPr>
          </a:p>
        </p:txBody>
      </p:sp>
    </p:spTree>
    <p:extLst>
      <p:ext uri="{BB962C8B-B14F-4D97-AF65-F5344CB8AC3E}">
        <p14:creationId xmlns:p14="http://schemas.microsoft.com/office/powerpoint/2010/main" val="7905270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R Divider">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userDrawn="1">
            <p:custDataLst>
              <p:tags r:id="rId2"/>
            </p:custDataLst>
            <p:extLst>
              <p:ext uri="{D42A27DB-BD31-4B8C-83A1-F6EECF244321}">
                <p14:modId xmlns:p14="http://schemas.microsoft.com/office/powerpoint/2010/main" val="25855408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748" name="think-cell Slide" r:id="rId4" imgW="465" imgH="457" progId="TCLayout.ActiveDocument.1">
                  <p:embed/>
                </p:oleObj>
              </mc:Choice>
              <mc:Fallback>
                <p:oleObj name="think-cell Slide" r:id="rId4" imgW="465" imgH="45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a:xfrm>
            <a:off x="265158" y="2158484"/>
            <a:ext cx="9365380" cy="290849"/>
          </a:xfrm>
          <a:ln>
            <a:noFill/>
          </a:ln>
        </p:spPr>
        <p:txBody>
          <a:bodyPr/>
          <a:lstStyle>
            <a:lvl1pPr marL="172427" indent="-172427">
              <a:buFont typeface="Arial" pitchFamily="34" charset="0"/>
              <a:buChar char="•"/>
              <a:defRPr sz="2100" baseline="0"/>
            </a:lvl1pPr>
            <a:lvl2pPr marL="364012" indent="-191585">
              <a:spcBef>
                <a:spcPts val="629"/>
              </a:spcBef>
              <a:buFont typeface="Arial" pitchFamily="34" charset="0"/>
              <a:buChar char="–"/>
              <a:defRPr sz="2100"/>
            </a:lvl2pPr>
            <a:lvl3pPr marL="507700" indent="-143689">
              <a:spcBef>
                <a:spcPts val="210"/>
              </a:spcBef>
              <a:buFont typeface="Arial" pitchFamily="34" charset="0"/>
              <a:buChar char="-"/>
              <a:defRPr sz="2100"/>
            </a:lvl3pPr>
            <a:lvl4pPr>
              <a:defRPr sz="2100"/>
            </a:lvl4pPr>
            <a:lvl5pPr>
              <a:defRPr sz="2100"/>
            </a:lvl5pPr>
          </a:lstStyle>
          <a:p>
            <a:pPr lvl="0"/>
            <a:r>
              <a:rPr lang="en-US" dirty="0"/>
              <a:t>Divider subsections here</a:t>
            </a:r>
          </a:p>
        </p:txBody>
      </p:sp>
      <p:sp>
        <p:nvSpPr>
          <p:cNvPr id="2" name="Title 1"/>
          <p:cNvSpPr>
            <a:spLocks noGrp="1"/>
          </p:cNvSpPr>
          <p:nvPr>
            <p:ph type="title" hasCustomPrompt="1"/>
          </p:nvPr>
        </p:nvSpPr>
        <p:spPr>
          <a:xfrm>
            <a:off x="265158" y="1628009"/>
            <a:ext cx="9365310" cy="338406"/>
          </a:xfrm>
          <a:prstGeom prst="rect">
            <a:avLst/>
          </a:prstGeom>
          <a:ln>
            <a:noFill/>
          </a:ln>
        </p:spPr>
        <p:txBody>
          <a:bodyPr lIns="95793" tIns="47896" rIns="95793" bIns="47896"/>
          <a:lstStyle>
            <a:lvl1pPr>
              <a:defRPr baseline="0"/>
            </a:lvl1pPr>
          </a:lstStyle>
          <a:p>
            <a:r>
              <a:rPr lang="en-US" dirty="0"/>
              <a:t>Divider text here</a:t>
            </a:r>
          </a:p>
        </p:txBody>
      </p:sp>
    </p:spTree>
    <p:extLst>
      <p:ext uri="{BB962C8B-B14F-4D97-AF65-F5344CB8AC3E}">
        <p14:creationId xmlns:p14="http://schemas.microsoft.com/office/powerpoint/2010/main" val="877220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a:defRPr/>
            </a:pPr>
            <a:r>
              <a:rPr lang="en-US" altLang="zh-CN"/>
              <a:t>- </a:t>
            </a:r>
            <a:fld id="{D196C2D1-191C-4448-BECC-17644327C254}" type="slidenum">
              <a:rPr lang="en-US" altLang="zh-CN" smtClean="0"/>
              <a:pPr>
                <a:defRPr/>
              </a:pPr>
              <a:t>‹#›</a:t>
            </a:fld>
            <a:r>
              <a:rPr lang="en-US" altLang="zh-CN"/>
              <a:t> -</a:t>
            </a:r>
          </a:p>
        </p:txBody>
      </p:sp>
    </p:spTree>
    <p:extLst>
      <p:ext uri="{BB962C8B-B14F-4D97-AF65-F5344CB8AC3E}">
        <p14:creationId xmlns:p14="http://schemas.microsoft.com/office/powerpoint/2010/main" val="12492597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9"/>
            </p:custDataLst>
            <p:extLst>
              <p:ext uri="{D42A27DB-BD31-4B8C-83A1-F6EECF244321}">
                <p14:modId xmlns:p14="http://schemas.microsoft.com/office/powerpoint/2010/main" val="3714759154"/>
              </p:ex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56615"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721" y="1589"/>
                        <a:ext cx="1719" cy="1587"/>
                      </a:xfrm>
                      <a:prstGeom prst="rect">
                        <a:avLst/>
                      </a:prstGeom>
                    </p:spPr>
                  </p:pic>
                </p:oleObj>
              </mc:Fallback>
            </mc:AlternateContent>
          </a:graphicData>
        </a:graphic>
      </p:graphicFrame>
      <p:sp>
        <p:nvSpPr>
          <p:cNvPr id="3" name="Text Placeholder 2"/>
          <p:cNvSpPr>
            <a:spLocks noGrp="1"/>
          </p:cNvSpPr>
          <p:nvPr>
            <p:ph type="body" idx="1"/>
          </p:nvPr>
        </p:nvSpPr>
        <p:spPr>
          <a:xfrm>
            <a:off x="264840" y="1376682"/>
            <a:ext cx="9367890" cy="1408078"/>
          </a:xfrm>
          <a:prstGeom prst="rect">
            <a:avLst/>
          </a:prstGeom>
          <a:noFill/>
          <a:ln w="6350">
            <a:noFill/>
            <a:miter lim="800000"/>
          </a:ln>
        </p:spPr>
        <p:txBody>
          <a:bodyPr vert="horz" wrap="square" lIns="0" tIns="0" rIns="0" bIns="0" rtlCol="0">
            <a:spAutoFit/>
          </a:bodyPr>
          <a:lstStyle/>
          <a:p>
            <a:pPr lvl="0"/>
            <a:r>
              <a:rPr lang="en-US" dirty="0"/>
              <a:t>Text on first level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Box 14"/>
          <p:cNvSpPr txBox="1"/>
          <p:nvPr/>
        </p:nvSpPr>
        <p:spPr>
          <a:xfrm>
            <a:off x="9360551" y="6596784"/>
            <a:ext cx="287228" cy="138531"/>
          </a:xfrm>
          <a:prstGeom prst="rect">
            <a:avLst/>
          </a:prstGeom>
          <a:noFill/>
          <a:ln w="6350">
            <a:noFill/>
            <a:miter lim="800000"/>
          </a:ln>
        </p:spPr>
        <p:txBody>
          <a:bodyPr wrap="none" lIns="0" tIns="0" rIns="0" bIns="0" rtlCol="0" anchor="b" anchorCtr="0">
            <a:noAutofit/>
          </a:bodyPr>
          <a:lstStyle/>
          <a:p>
            <a:pPr algn="r"/>
            <a:fld id="{6CE8C368-3382-4C28-AE75-DF7C05ACA19D}" type="slidenum">
              <a:rPr lang="en-US" sz="900">
                <a:solidFill>
                  <a:srgbClr val="ADABA1"/>
                </a:solidFill>
              </a:rPr>
              <a:pPr algn="r"/>
              <a:t>‹#›</a:t>
            </a:fld>
            <a:endParaRPr lang="en-US" sz="900" dirty="0">
              <a:solidFill>
                <a:srgbClr val="ADABA1"/>
              </a:solidFill>
            </a:endParaRPr>
          </a:p>
        </p:txBody>
      </p:sp>
      <p:sp>
        <p:nvSpPr>
          <p:cNvPr id="8" name="Line 11"/>
          <p:cNvSpPr>
            <a:spLocks noChangeShapeType="1"/>
          </p:cNvSpPr>
          <p:nvPr userDrawn="1"/>
        </p:nvSpPr>
        <p:spPr bwMode="auto">
          <a:xfrm>
            <a:off x="271464" y="917440"/>
            <a:ext cx="9125694" cy="0"/>
          </a:xfrm>
          <a:prstGeom prst="line">
            <a:avLst/>
          </a:prstGeom>
          <a:noFill/>
          <a:ln w="12700">
            <a:solidFill>
              <a:srgbClr val="808080"/>
            </a:solidFill>
            <a:round/>
            <a:headEnd/>
            <a:tailEnd/>
          </a:ln>
        </p:spPr>
        <p:txBody>
          <a:bodyPr lIns="95793" tIns="47896" rIns="95793" bIns="47896"/>
          <a:lstStyle/>
          <a:p>
            <a:pPr>
              <a:defRPr/>
            </a:pPr>
            <a:endParaRPr lang="zh-CN" altLang="en-US"/>
          </a:p>
        </p:txBody>
      </p:sp>
      <p:sp>
        <p:nvSpPr>
          <p:cNvPr id="9" name="Line 11"/>
          <p:cNvSpPr>
            <a:spLocks noChangeShapeType="1"/>
          </p:cNvSpPr>
          <p:nvPr userDrawn="1"/>
        </p:nvSpPr>
        <p:spPr bwMode="auto">
          <a:xfrm rot="16200000">
            <a:off x="144381" y="827726"/>
            <a:ext cx="182604" cy="0"/>
          </a:xfrm>
          <a:prstGeom prst="line">
            <a:avLst/>
          </a:prstGeom>
          <a:noFill/>
          <a:ln w="76200">
            <a:solidFill>
              <a:srgbClr val="B42100"/>
            </a:solidFill>
            <a:round/>
            <a:headEnd/>
            <a:tailEnd/>
          </a:ln>
        </p:spPr>
        <p:txBody>
          <a:bodyPr lIns="95793" tIns="47896" rIns="95793" bIns="47896"/>
          <a:lstStyle/>
          <a:p>
            <a:pPr>
              <a:defRPr/>
            </a:pPr>
            <a:endParaRPr lang="zh-CN" altLang="en-US"/>
          </a:p>
        </p:txBody>
      </p:sp>
      <p:sp>
        <p:nvSpPr>
          <p:cNvPr id="11" name="Line 11"/>
          <p:cNvSpPr>
            <a:spLocks noChangeShapeType="1"/>
          </p:cNvSpPr>
          <p:nvPr userDrawn="1"/>
        </p:nvSpPr>
        <p:spPr bwMode="auto">
          <a:xfrm rot="16200000">
            <a:off x="191478" y="852338"/>
            <a:ext cx="136557" cy="0"/>
          </a:xfrm>
          <a:prstGeom prst="line">
            <a:avLst/>
          </a:prstGeom>
          <a:noFill/>
          <a:ln w="38100">
            <a:solidFill>
              <a:srgbClr val="969696"/>
            </a:solidFill>
            <a:round/>
            <a:headEnd/>
            <a:tailEnd/>
          </a:ln>
        </p:spPr>
        <p:txBody>
          <a:bodyPr lIns="95793" tIns="47896" rIns="95793" bIns="47896"/>
          <a:lstStyle/>
          <a:p>
            <a:pPr>
              <a:defRPr/>
            </a:pPr>
            <a:endParaRPr lang="zh-CN" altLang="en-US"/>
          </a:p>
        </p:txBody>
      </p:sp>
      <p:grpSp>
        <p:nvGrpSpPr>
          <p:cNvPr id="12" name="Group 30"/>
          <p:cNvGrpSpPr>
            <a:grpSpLocks/>
          </p:cNvGrpSpPr>
          <p:nvPr userDrawn="1"/>
        </p:nvGrpSpPr>
        <p:grpSpPr bwMode="auto">
          <a:xfrm>
            <a:off x="8955240" y="911089"/>
            <a:ext cx="453952" cy="69866"/>
            <a:chOff x="5208" y="545"/>
            <a:chExt cx="264" cy="44"/>
          </a:xfrm>
        </p:grpSpPr>
        <p:sp>
          <p:nvSpPr>
            <p:cNvPr id="16" name="Rectangle 17"/>
            <p:cNvSpPr>
              <a:spLocks noChangeArrowheads="1"/>
            </p:cNvSpPr>
            <p:nvPr userDrawn="1"/>
          </p:nvSpPr>
          <p:spPr bwMode="auto">
            <a:xfrm rot="10800000" flipH="1" flipV="1">
              <a:off x="5208" y="545"/>
              <a:ext cx="264" cy="44"/>
            </a:xfrm>
            <a:prstGeom prst="rect">
              <a:avLst/>
            </a:prstGeom>
            <a:solidFill>
              <a:srgbClr val="B42100"/>
            </a:solidFill>
            <a:ln>
              <a:noFill/>
            </a:ln>
            <a:effectLst/>
          </p:spPr>
          <p:txBody>
            <a:bodyPr anchor="ctr"/>
            <a:lstStyle/>
            <a:p>
              <a:pPr algn="ctr">
                <a:defRPr/>
              </a:pPr>
              <a:endParaRPr lang="en-US" altLang="zh-CN" sz="1000" b="0">
                <a:solidFill>
                  <a:schemeClr val="bg1"/>
                </a:solidFill>
              </a:endParaRPr>
            </a:p>
          </p:txBody>
        </p:sp>
        <p:sp>
          <p:nvSpPr>
            <p:cNvPr id="17" name="Rectangle 22"/>
            <p:cNvSpPr>
              <a:spLocks noChangeArrowheads="1"/>
            </p:cNvSpPr>
            <p:nvPr userDrawn="1"/>
          </p:nvSpPr>
          <p:spPr bwMode="auto">
            <a:xfrm rot="10800000">
              <a:off x="5208" y="545"/>
              <a:ext cx="240" cy="27"/>
            </a:xfrm>
            <a:prstGeom prst="rect">
              <a:avLst/>
            </a:prstGeom>
            <a:solidFill>
              <a:srgbClr val="969696"/>
            </a:solidFill>
            <a:ln>
              <a:noFill/>
            </a:ln>
            <a:effectLst/>
          </p:spPr>
          <p:txBody>
            <a:bodyPr rot="10800000" anchor="ctr"/>
            <a:lstStyle/>
            <a:p>
              <a:pPr algn="r">
                <a:defRPr/>
              </a:pPr>
              <a:endParaRPr lang="en-US" altLang="zh-CN" sz="200" b="0">
                <a:solidFill>
                  <a:schemeClr val="bg1"/>
                </a:solidFill>
              </a:endParaRPr>
            </a:p>
          </p:txBody>
        </p:sp>
      </p:grpSp>
      <p:sp>
        <p:nvSpPr>
          <p:cNvPr id="19" name="Rectangle 27"/>
          <p:cNvSpPr>
            <a:spLocks noGrp="1" noChangeArrowheads="1"/>
          </p:cNvSpPr>
          <p:nvPr>
            <p:ph type="dt" sz="half" idx="2"/>
          </p:nvPr>
        </p:nvSpPr>
        <p:spPr bwMode="auto">
          <a:xfrm>
            <a:off x="4704596" y="6505766"/>
            <a:ext cx="495221" cy="165138"/>
          </a:xfrm>
          <a:prstGeom prst="rect">
            <a:avLst/>
          </a:prstGeom>
          <a:noFill/>
          <a:ln>
            <a:noFill/>
          </a:ln>
          <a:effectLst/>
        </p:spPr>
        <p:txBody>
          <a:bodyPr vert="horz" wrap="square" lIns="95793" tIns="47896" rIns="95793" bIns="47896" numCol="1" anchor="t" anchorCtr="0" compatLnSpc="1">
            <a:prstTxWarp prst="textNoShape">
              <a:avLst/>
            </a:prstTxWarp>
          </a:bodyPr>
          <a:lstStyle>
            <a:lvl1pPr algn="ctr" eaLnBrk="0" hangingPunct="0">
              <a:spcBef>
                <a:spcPct val="20000"/>
              </a:spcBef>
              <a:buClr>
                <a:schemeClr val="accent1"/>
              </a:buClr>
              <a:buSzPct val="85000"/>
              <a:buFontTx/>
              <a:buChar char="-"/>
              <a:defRPr sz="800" b="0" smtClean="0">
                <a:solidFill>
                  <a:srgbClr val="937632"/>
                </a:solidFill>
              </a:defRPr>
            </a:lvl1pPr>
          </a:lstStyle>
          <a:p>
            <a:pPr>
              <a:defRPr/>
            </a:pPr>
            <a:r>
              <a:rPr lang="en-US" altLang="zh-CN"/>
              <a:t>- </a:t>
            </a:r>
            <a:fld id="{D196C2D1-191C-4448-BECC-17644327C254}" type="slidenum">
              <a:rPr lang="en-US" altLang="zh-CN"/>
              <a:pPr>
                <a:defRPr/>
              </a:pPr>
              <a:t>‹#›</a:t>
            </a:fld>
            <a:r>
              <a:rPr lang="en-US" altLang="zh-CN"/>
              <a:t> -</a:t>
            </a:r>
          </a:p>
        </p:txBody>
      </p:sp>
      <p:sp>
        <p:nvSpPr>
          <p:cNvPr id="22" name="Title Placeholder 1"/>
          <p:cNvSpPr>
            <a:spLocks noGrp="1"/>
          </p:cNvSpPr>
          <p:nvPr>
            <p:ph type="title"/>
          </p:nvPr>
        </p:nvSpPr>
        <p:spPr bwMode="auto">
          <a:xfrm>
            <a:off x="264840" y="296863"/>
            <a:ext cx="9368110" cy="61118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1941171506"/>
      </p:ext>
    </p:extLst>
  </p:cSld>
  <p:clrMap bg1="lt1" tx1="dk1" bg2="lt2" tx2="dk2" accent1="accent1" accent2="accent2" accent3="accent3" accent4="accent4" accent5="accent5" accent6="accent6" hlink="hlink" folHlink="folHlink"/>
  <p:sldLayoutIdLst>
    <p:sldLayoutId id="2147483661" r:id="rId1"/>
    <p:sldLayoutId id="2147483669" r:id="rId2"/>
    <p:sldLayoutId id="2147483670" r:id="rId3"/>
    <p:sldLayoutId id="2147483662" r:id="rId4"/>
    <p:sldLayoutId id="2147483663" r:id="rId5"/>
    <p:sldLayoutId id="2147483671" r:id="rId6"/>
  </p:sldLayoutIdLst>
  <p:hf sldNum="0" hdr="0" ftr="0" dt="0"/>
  <p:txStyles>
    <p:titleStyle>
      <a:lvl1pPr marL="0" indent="0" algn="l" defTabSz="95792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mj-ea"/>
          <a:cs typeface="Arial" pitchFamily="34" charset="0"/>
        </a:defRPr>
      </a:lvl1pPr>
    </p:titleStyle>
    <p:bodyStyle>
      <a:lvl1pPr marL="188568" indent="-188568" algn="l" defTabSz="957925" rtl="0" eaLnBrk="1" latinLnBrk="0" hangingPunct="1">
        <a:lnSpc>
          <a:spcPct val="90000"/>
        </a:lnSpc>
        <a:spcBef>
          <a:spcPts val="1467"/>
        </a:spcBef>
        <a:buClr>
          <a:schemeClr val="bg2"/>
        </a:buClr>
        <a:buSzPct val="100000"/>
        <a:buFont typeface="Arial" pitchFamily="34" charset="0"/>
        <a:buChar char="■"/>
        <a:defRPr sz="1700" kern="1200">
          <a:solidFill>
            <a:schemeClr val="tx1"/>
          </a:solidFill>
          <a:latin typeface="Palatino Linotype" panose="02040502050505030304" pitchFamily="18" charset="0"/>
          <a:ea typeface="+mn-ea"/>
          <a:cs typeface="Arial" pitchFamily="34" charset="0"/>
        </a:defRPr>
      </a:lvl1pPr>
      <a:lvl2pPr marL="325695" indent="-134110" algn="l" defTabSz="957925" rtl="0" eaLnBrk="1" latinLnBrk="0" hangingPunct="1">
        <a:lnSpc>
          <a:spcPct val="90000"/>
        </a:lnSpc>
        <a:spcBef>
          <a:spcPts val="943"/>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2pPr>
      <a:lvl3pPr marL="512905" indent="-188568" algn="l" defTabSz="957925" rtl="0" eaLnBrk="1" latinLnBrk="0" hangingPunct="1">
        <a:lnSpc>
          <a:spcPct val="90000"/>
        </a:lnSpc>
        <a:spcBef>
          <a:spcPts val="629"/>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3pPr>
      <a:lvl4pPr marL="663759" indent="-143689" algn="l" defTabSz="957925" rtl="0" eaLnBrk="1" latinLnBrk="0" hangingPunct="1">
        <a:lnSpc>
          <a:spcPct val="90000"/>
        </a:lnSpc>
        <a:spcBef>
          <a:spcPts val="210"/>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4pPr>
      <a:lvl5pPr marL="807071" indent="-143312" algn="l" defTabSz="957925" rtl="0" eaLnBrk="1" latinLnBrk="0" hangingPunct="1">
        <a:lnSpc>
          <a:spcPct val="90000"/>
        </a:lnSpc>
        <a:spcBef>
          <a:spcPts val="105"/>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5pPr>
      <a:lvl6pPr marL="2634295"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3258"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2220"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1183"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en-US"/>
      </a:defPPr>
      <a:lvl1pPr marL="0" algn="l" defTabSz="957925" rtl="0" eaLnBrk="1" latinLnBrk="0" hangingPunct="1">
        <a:defRPr sz="1900" kern="1200">
          <a:solidFill>
            <a:schemeClr val="tx1"/>
          </a:solidFill>
          <a:latin typeface="+mn-lt"/>
          <a:ea typeface="+mn-ea"/>
          <a:cs typeface="+mn-cs"/>
        </a:defRPr>
      </a:lvl1pPr>
      <a:lvl2pPr marL="478963" algn="l" defTabSz="957925" rtl="0" eaLnBrk="1" latinLnBrk="0" hangingPunct="1">
        <a:defRPr sz="1900" kern="1200">
          <a:solidFill>
            <a:schemeClr val="tx1"/>
          </a:solidFill>
          <a:latin typeface="+mn-lt"/>
          <a:ea typeface="+mn-ea"/>
          <a:cs typeface="+mn-cs"/>
        </a:defRPr>
      </a:lvl2pPr>
      <a:lvl3pPr marL="957925" algn="l" defTabSz="957925" rtl="0" eaLnBrk="1" latinLnBrk="0" hangingPunct="1">
        <a:defRPr sz="1900" kern="1200">
          <a:solidFill>
            <a:schemeClr val="tx1"/>
          </a:solidFill>
          <a:latin typeface="+mn-lt"/>
          <a:ea typeface="+mn-ea"/>
          <a:cs typeface="+mn-cs"/>
        </a:defRPr>
      </a:lvl3pPr>
      <a:lvl4pPr marL="1436888" algn="l" defTabSz="957925" rtl="0" eaLnBrk="1" latinLnBrk="0" hangingPunct="1">
        <a:defRPr sz="1900" kern="1200">
          <a:solidFill>
            <a:schemeClr val="tx1"/>
          </a:solidFill>
          <a:latin typeface="+mn-lt"/>
          <a:ea typeface="+mn-ea"/>
          <a:cs typeface="+mn-cs"/>
        </a:defRPr>
      </a:lvl4pPr>
      <a:lvl5pPr marL="1915851" algn="l" defTabSz="957925" rtl="0" eaLnBrk="1" latinLnBrk="0" hangingPunct="1">
        <a:defRPr sz="1900" kern="1200">
          <a:solidFill>
            <a:schemeClr val="tx1"/>
          </a:solidFill>
          <a:latin typeface="+mn-lt"/>
          <a:ea typeface="+mn-ea"/>
          <a:cs typeface="+mn-cs"/>
        </a:defRPr>
      </a:lvl5pPr>
      <a:lvl6pPr marL="2394814" algn="l" defTabSz="957925" rtl="0" eaLnBrk="1" latinLnBrk="0" hangingPunct="1">
        <a:defRPr sz="1900" kern="1200">
          <a:solidFill>
            <a:schemeClr val="tx1"/>
          </a:solidFill>
          <a:latin typeface="+mn-lt"/>
          <a:ea typeface="+mn-ea"/>
          <a:cs typeface="+mn-cs"/>
        </a:defRPr>
      </a:lvl6pPr>
      <a:lvl7pPr marL="2873776" algn="l" defTabSz="957925" rtl="0" eaLnBrk="1" latinLnBrk="0" hangingPunct="1">
        <a:defRPr sz="1900" kern="1200">
          <a:solidFill>
            <a:schemeClr val="tx1"/>
          </a:solidFill>
          <a:latin typeface="+mn-lt"/>
          <a:ea typeface="+mn-ea"/>
          <a:cs typeface="+mn-cs"/>
        </a:defRPr>
      </a:lvl7pPr>
      <a:lvl8pPr marL="3352739" algn="l" defTabSz="957925" rtl="0" eaLnBrk="1" latinLnBrk="0" hangingPunct="1">
        <a:defRPr sz="1900" kern="1200">
          <a:solidFill>
            <a:schemeClr val="tx1"/>
          </a:solidFill>
          <a:latin typeface="+mn-lt"/>
          <a:ea typeface="+mn-ea"/>
          <a:cs typeface="+mn-cs"/>
        </a:defRPr>
      </a:lvl8pPr>
      <a:lvl9pPr marL="3831702" algn="l" defTabSz="957925"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2.emf"/><Relationship Id="rId4" Type="http://schemas.openxmlformats.org/officeDocument/2006/relationships/oleObject" Target="../embeddings/oleObject7.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chart" Target="../charts/chart3.xml"/><Relationship Id="rId4" Type="http://schemas.openxmlformats.org/officeDocument/2006/relationships/image" Target="../media/image9.jpg"/></Relationships>
</file>

<file path=ppt/slides/_rels/slide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tags" Target="../tags/tag1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14.xml"/><Relationship Id="rId4" Type="http://schemas.openxmlformats.org/officeDocument/2006/relationships/image" Target="../media/image11.jpg"/></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2.xml"/><Relationship Id="rId1" Type="http://schemas.openxmlformats.org/officeDocument/2006/relationships/tags" Target="../tags/tag15.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16.xml"/><Relationship Id="rId4" Type="http://schemas.openxmlformats.org/officeDocument/2006/relationships/image" Target="../media/image13.png"/></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2.xml"/><Relationship Id="rId1" Type="http://schemas.openxmlformats.org/officeDocument/2006/relationships/tags" Target="../tags/tag17.xml"/></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18.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16.png"/><Relationship Id="rId4" Type="http://schemas.openxmlformats.org/officeDocument/2006/relationships/notesSlide" Target="../notesSlides/notesSlide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3.xml"/><Relationship Id="rId1" Type="http://schemas.openxmlformats.org/officeDocument/2006/relationships/tags" Target="../tags/tag9.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1.xml"/></Relationships>
</file>

<file path=ppt/slides/_rels/slide2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2.xml"/><Relationship Id="rId1" Type="http://schemas.openxmlformats.org/officeDocument/2006/relationships/tags" Target="../tags/tag22.xml"/></Relationships>
</file>

<file path=ppt/slides/_rels/slide2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23.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24.xml"/><Relationship Id="rId4" Type="http://schemas.openxmlformats.org/officeDocument/2006/relationships/image" Target="../media/image23.png"/></Relationships>
</file>

<file path=ppt/slides/_rels/slide2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xml"/><Relationship Id="rId5" Type="http://schemas.openxmlformats.org/officeDocument/2006/relationships/image" Target="../media/image29.png"/><Relationship Id="rId4" Type="http://schemas.openxmlformats.org/officeDocument/2006/relationships/image" Target="../media/image280.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33.tiff"/><Relationship Id="rId5" Type="http://schemas.openxmlformats.org/officeDocument/2006/relationships/image" Target="../media/image32.png"/><Relationship Id="rId4" Type="http://schemas.openxmlformats.org/officeDocument/2006/relationships/image" Target="../media/image31.png"/></Relationships>
</file>

<file path=ppt/slides/_rels/slide31.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slideLayout" Target="../slideLayouts/slideLayout2.xml"/><Relationship Id="rId4" Type="http://schemas.openxmlformats.org/officeDocument/2006/relationships/tags" Target="../tags/tag28.xml"/></Relationships>
</file>

<file path=ppt/slides/_rels/slide32.xml.rels><?xml version="1.0" encoding="UTF-8" standalone="yes"?>
<Relationships xmlns="http://schemas.openxmlformats.org/package/2006/relationships"><Relationship Id="rId2" Type="http://schemas.openxmlformats.org/officeDocument/2006/relationships/image" Target="../media/image35.tif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image" Target="../media/image38.png"/><Relationship Id="rId4" Type="http://schemas.openxmlformats.org/officeDocument/2006/relationships/image" Target="../media/image37.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40.tmp"/><Relationship Id="rId2" Type="http://schemas.openxmlformats.org/officeDocument/2006/relationships/image" Target="../media/image39.tmp"/><Relationship Id="rId1" Type="http://schemas.openxmlformats.org/officeDocument/2006/relationships/slideLayout" Target="../slideLayouts/slideLayout2.xml"/><Relationship Id="rId4" Type="http://schemas.openxmlformats.org/officeDocument/2006/relationships/image" Target="../media/image41.tmp"/></Relationships>
</file>

<file path=ppt/slides/_rels/slide37.xml.rels><?xml version="1.0" encoding="UTF-8" standalone="yes"?>
<Relationships xmlns="http://schemas.openxmlformats.org/package/2006/relationships"><Relationship Id="rId3" Type="http://schemas.openxmlformats.org/officeDocument/2006/relationships/image" Target="../media/image42.tmp"/><Relationship Id="rId2" Type="http://schemas.openxmlformats.org/officeDocument/2006/relationships/image" Target="../media/image70.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44.tmp"/><Relationship Id="rId7" Type="http://schemas.openxmlformats.org/officeDocument/2006/relationships/image" Target="../media/image48.tmp"/><Relationship Id="rId2" Type="http://schemas.openxmlformats.org/officeDocument/2006/relationships/image" Target="../media/image43.tmp"/><Relationship Id="rId1" Type="http://schemas.openxmlformats.org/officeDocument/2006/relationships/slideLayout" Target="../slideLayouts/slideLayout2.xml"/><Relationship Id="rId6" Type="http://schemas.openxmlformats.org/officeDocument/2006/relationships/image" Target="../media/image47.tmp"/><Relationship Id="rId5" Type="http://schemas.openxmlformats.org/officeDocument/2006/relationships/image" Target="../media/image46.tmp"/><Relationship Id="rId4" Type="http://schemas.openxmlformats.org/officeDocument/2006/relationships/image" Target="../media/image45.tmp"/></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50.tmp"/><Relationship Id="rId7" Type="http://schemas.openxmlformats.org/officeDocument/2006/relationships/image" Target="../media/image54.tmp"/><Relationship Id="rId2" Type="http://schemas.openxmlformats.org/officeDocument/2006/relationships/image" Target="../media/image49.tmp"/><Relationship Id="rId1" Type="http://schemas.openxmlformats.org/officeDocument/2006/relationships/slideLayout" Target="../slideLayouts/slideLayout2.xml"/><Relationship Id="rId6" Type="http://schemas.openxmlformats.org/officeDocument/2006/relationships/image" Target="../media/image53.tmp"/><Relationship Id="rId5" Type="http://schemas.openxmlformats.org/officeDocument/2006/relationships/image" Target="../media/image52.tmp"/><Relationship Id="rId4" Type="http://schemas.openxmlformats.org/officeDocument/2006/relationships/image" Target="../media/image51.tmp"/></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73" name="think-cell Slide" r:id="rId4" imgW="465" imgH="457" progId="TCLayout.ActiveDocument.1">
                  <p:embed/>
                </p:oleObj>
              </mc:Choice>
              <mc:Fallback>
                <p:oleObj name="think-cell Slide" r:id="rId4" imgW="465" imgH="457" progId="TCLayout.ActiveDocument.1">
                  <p:embed/>
                  <p:pic>
                    <p:nvPicPr>
                      <p:cNvPr id="4" name="对象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文本占位符 8"/>
          <p:cNvSpPr>
            <a:spLocks noGrp="1"/>
          </p:cNvSpPr>
          <p:nvPr>
            <p:ph type="body" sz="quarter" idx="16"/>
          </p:nvPr>
        </p:nvSpPr>
        <p:spPr>
          <a:xfrm>
            <a:off x="343694" y="4051331"/>
            <a:ext cx="3586911" cy="1038746"/>
          </a:xfrm>
        </p:spPr>
        <p:txBody>
          <a:bodyPr/>
          <a:lstStyle/>
          <a:p>
            <a:r>
              <a:rPr lang="en-US" dirty="0"/>
              <a:t>Lai Lin 1801212867</a:t>
            </a:r>
          </a:p>
          <a:p>
            <a:r>
              <a:rPr lang="en-US" dirty="0"/>
              <a:t>Lian Di 1801212881</a:t>
            </a:r>
          </a:p>
          <a:p>
            <a:r>
              <a:rPr lang="en-US" altLang="zh-CN" dirty="0"/>
              <a:t>Liu Sheng 1801212891</a:t>
            </a:r>
            <a:endParaRPr lang="en-US" dirty="0"/>
          </a:p>
          <a:p>
            <a:r>
              <a:rPr lang="en-US" dirty="0" err="1"/>
              <a:t>Alimujiang</a:t>
            </a:r>
            <a:r>
              <a:rPr lang="en-US" dirty="0"/>
              <a:t> 1801212778</a:t>
            </a:r>
          </a:p>
          <a:p>
            <a:r>
              <a:rPr lang="en-US" altLang="zh-CN" dirty="0"/>
              <a:t>He </a:t>
            </a:r>
            <a:r>
              <a:rPr lang="en-US" altLang="zh-CN" dirty="0" err="1"/>
              <a:t>SongTao</a:t>
            </a:r>
            <a:r>
              <a:rPr lang="en-US" altLang="zh-CN" dirty="0"/>
              <a:t> 1801212852</a:t>
            </a:r>
          </a:p>
        </p:txBody>
      </p:sp>
      <p:sp>
        <p:nvSpPr>
          <p:cNvPr id="8" name="文本占位符 7"/>
          <p:cNvSpPr>
            <a:spLocks noGrp="1"/>
          </p:cNvSpPr>
          <p:nvPr>
            <p:ph type="body" sz="quarter" idx="15"/>
          </p:nvPr>
        </p:nvSpPr>
        <p:spPr>
          <a:xfrm>
            <a:off x="343694" y="6207210"/>
            <a:ext cx="4297888" cy="207749"/>
          </a:xfrm>
        </p:spPr>
        <p:txBody>
          <a:bodyPr/>
          <a:lstStyle/>
          <a:p>
            <a:r>
              <a:rPr lang="en-US" dirty="0"/>
              <a:t>2020-01-13</a:t>
            </a:r>
          </a:p>
        </p:txBody>
      </p:sp>
      <p:sp>
        <p:nvSpPr>
          <p:cNvPr id="5" name="标题 4"/>
          <p:cNvSpPr>
            <a:spLocks noGrp="1"/>
          </p:cNvSpPr>
          <p:nvPr>
            <p:ph type="ctrTitle"/>
          </p:nvPr>
        </p:nvSpPr>
        <p:spPr>
          <a:xfrm>
            <a:off x="163674" y="2313670"/>
            <a:ext cx="9361046" cy="498713"/>
          </a:xfrm>
        </p:spPr>
        <p:txBody>
          <a:bodyPr/>
          <a:lstStyle/>
          <a:p>
            <a:r>
              <a:rPr lang="en-US" dirty="0">
                <a:latin typeface="Palatino Linotype" panose="02040502050505030304" pitchFamily="18" charset="0"/>
              </a:rPr>
              <a:t>Inflow and outflow forecasts of </a:t>
            </a:r>
            <a:r>
              <a:rPr lang="en-US" dirty="0" err="1">
                <a:latin typeface="Palatino Linotype" panose="02040502050505030304" pitchFamily="18" charset="0"/>
              </a:rPr>
              <a:t>Yuebao</a:t>
            </a:r>
            <a:r>
              <a:rPr lang="en-US" dirty="0">
                <a:latin typeface="Palatino Linotype" panose="02040502050505030304" pitchFamily="18" charset="0"/>
              </a:rPr>
              <a:t> Monetary Fund</a:t>
            </a:r>
          </a:p>
        </p:txBody>
      </p:sp>
    </p:spTree>
    <p:extLst>
      <p:ext uri="{BB962C8B-B14F-4D97-AF65-F5344CB8AC3E}">
        <p14:creationId xmlns:p14="http://schemas.microsoft.com/office/powerpoint/2010/main" val="1341247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z="2800" dirty="0"/>
              <a:t>Individual</a:t>
            </a:r>
            <a:r>
              <a:rPr lang="zh-CN" altLang="en-US" sz="2800" dirty="0"/>
              <a:t> </a:t>
            </a:r>
            <a:r>
              <a:rPr lang="en-US" altLang="zh-CN" sz="2800" dirty="0"/>
              <a:t>investors</a:t>
            </a:r>
            <a:endParaRPr lang="en-US" dirty="0"/>
          </a:p>
        </p:txBody>
      </p:sp>
      <p:sp>
        <p:nvSpPr>
          <p:cNvPr id="5" name="Text Box 10"/>
          <p:cNvSpPr txBox="1">
            <a:spLocks noChangeArrowheads="1"/>
          </p:cNvSpPr>
          <p:nvPr>
            <p:custDataLst>
              <p:tags r:id="rId1"/>
            </p:custDataLst>
          </p:nvPr>
        </p:nvSpPr>
        <p:spPr bwMode="auto">
          <a:xfrm>
            <a:off x="448561" y="1161542"/>
            <a:ext cx="4358389" cy="464497"/>
          </a:xfrm>
          <a:prstGeom prst="rect">
            <a:avLst/>
          </a:prstGeom>
          <a:solidFill>
            <a:schemeClr val="bg2"/>
          </a:solidFill>
          <a:ln w="12700" algn="ctr">
            <a:solidFill>
              <a:schemeClr val="bg2"/>
            </a:solidFill>
            <a:miter lim="800000"/>
            <a:headEnd/>
            <a:tailEnd type="none" w="sm" len="med"/>
          </a:ln>
        </p:spPr>
        <p:txBody>
          <a:bodyPr lIns="36000" tIns="36000" rIns="36000" bIns="36000" anchor="ctr" anchorCtr="1"/>
          <a:lstStyle/>
          <a:p>
            <a:pPr algn="ctr" defTabSz="957263"/>
            <a:r>
              <a:rPr lang="en-US" sz="1400" b="1" dirty="0">
                <a:solidFill>
                  <a:schemeClr val="bg1"/>
                </a:solidFill>
                <a:latin typeface="Palatino Linotype" panose="02040502050505030304" pitchFamily="18" charset="0"/>
              </a:rPr>
              <a:t>Possessor Structure</a:t>
            </a:r>
          </a:p>
          <a:p>
            <a:pPr algn="ctr" defTabSz="957263"/>
            <a:r>
              <a:rPr lang="en-US" sz="1400" b="1" dirty="0">
                <a:solidFill>
                  <a:schemeClr val="bg1"/>
                </a:solidFill>
                <a:latin typeface="Palatino Linotype" panose="02040502050505030304" pitchFamily="18" charset="0"/>
              </a:rPr>
              <a:t>i</a:t>
            </a:r>
            <a:r>
              <a:rPr lang="en-US" altLang="zh-CN" sz="1400" b="1" dirty="0">
                <a:solidFill>
                  <a:schemeClr val="bg1"/>
                </a:solidFill>
                <a:latin typeface="Palatino Linotype" panose="02040502050505030304" pitchFamily="18" charset="0"/>
              </a:rPr>
              <a:t>n 2014</a:t>
            </a:r>
            <a:endParaRPr lang="en-US" sz="1400" b="1" dirty="0">
              <a:solidFill>
                <a:schemeClr val="bg1"/>
              </a:solidFill>
              <a:latin typeface="Palatino Linotype" panose="02040502050505030304" pitchFamily="18" charset="0"/>
            </a:endParaRPr>
          </a:p>
        </p:txBody>
      </p:sp>
      <p:sp>
        <p:nvSpPr>
          <p:cNvPr id="6" name="Text Placeholder 5"/>
          <p:cNvSpPr txBox="1">
            <a:spLocks/>
          </p:cNvSpPr>
          <p:nvPr/>
        </p:nvSpPr>
        <p:spPr>
          <a:xfrm>
            <a:off x="448560" y="1626041"/>
            <a:ext cx="4358389" cy="4682684"/>
          </a:xfrm>
          <a:prstGeom prst="rect">
            <a:avLst/>
          </a:prstGeom>
          <a:ln w="12700">
            <a:solidFill>
              <a:schemeClr val="bg2"/>
            </a:solidFill>
          </a:ln>
        </p:spPr>
        <p:txBody>
          <a:bodyPr wrap="square" lIns="3600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endParaRPr lang="en-US" dirty="0">
              <a:solidFill>
                <a:schemeClr val="tx1"/>
              </a:solidFill>
              <a:latin typeface="Palatino Linotype" panose="02040502050505030304" pitchFamily="18" charset="0"/>
            </a:endParaRPr>
          </a:p>
        </p:txBody>
      </p:sp>
      <p:sp>
        <p:nvSpPr>
          <p:cNvPr id="8" name="Text Box 10"/>
          <p:cNvSpPr txBox="1">
            <a:spLocks noChangeArrowheads="1"/>
          </p:cNvSpPr>
          <p:nvPr>
            <p:custDataLst>
              <p:tags r:id="rId2"/>
            </p:custDataLst>
          </p:nvPr>
        </p:nvSpPr>
        <p:spPr bwMode="auto">
          <a:xfrm>
            <a:off x="5095877" y="1161542"/>
            <a:ext cx="4356100" cy="464497"/>
          </a:xfrm>
          <a:prstGeom prst="rect">
            <a:avLst/>
          </a:prstGeom>
          <a:solidFill>
            <a:schemeClr val="bg2"/>
          </a:solidFill>
          <a:ln w="12700" algn="ctr">
            <a:solidFill>
              <a:schemeClr val="bg2"/>
            </a:solidFill>
            <a:miter lim="800000"/>
            <a:headEnd/>
            <a:tailEnd type="none" w="sm" len="med"/>
          </a:ln>
        </p:spPr>
        <p:txBody>
          <a:bodyPr lIns="36000" tIns="36000" rIns="36000" bIns="36000" anchor="ctr" anchorCtr="1"/>
          <a:lstStyle/>
          <a:p>
            <a:pPr algn="ctr" defTabSz="957263"/>
            <a:endParaRPr lang="en-US" sz="1400" b="1" dirty="0">
              <a:solidFill>
                <a:schemeClr val="bg1"/>
              </a:solidFill>
              <a:latin typeface="Palatino Linotype" panose="02040502050505030304" pitchFamily="18" charset="0"/>
            </a:endParaRPr>
          </a:p>
        </p:txBody>
      </p:sp>
      <p:sp>
        <p:nvSpPr>
          <p:cNvPr id="9" name="Text Placeholder 5"/>
          <p:cNvSpPr txBox="1">
            <a:spLocks/>
          </p:cNvSpPr>
          <p:nvPr/>
        </p:nvSpPr>
        <p:spPr>
          <a:xfrm>
            <a:off x="5095876" y="1626041"/>
            <a:ext cx="4356100" cy="4682684"/>
          </a:xfrm>
          <a:prstGeom prst="rect">
            <a:avLst/>
          </a:prstGeom>
          <a:ln w="12700">
            <a:solidFill>
              <a:schemeClr val="bg2"/>
            </a:solidFill>
          </a:ln>
        </p:spPr>
        <p:txBody>
          <a:bodyPr wrap="square" lIns="3600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342900" indent="-342900">
              <a:buClr>
                <a:srgbClr val="8E2929"/>
              </a:buClr>
              <a:buFont typeface="Wingdings" pitchFamily="2" charset="2"/>
              <a:buChar char="Ø"/>
            </a:pPr>
            <a:r>
              <a:rPr lang="en-US" sz="2400" dirty="0">
                <a:solidFill>
                  <a:schemeClr val="tx1"/>
                </a:solidFill>
                <a:latin typeface="Palatino Linotype" panose="02040502050505030304" pitchFamily="18" charset="0"/>
              </a:rPr>
              <a:t>In</a:t>
            </a:r>
            <a:r>
              <a:rPr lang="en-US" altLang="zh-CN" sz="2400" dirty="0">
                <a:solidFill>
                  <a:schemeClr val="tx1"/>
                </a:solidFill>
                <a:latin typeface="Palatino Linotype" panose="02040502050505030304" pitchFamily="18" charset="0"/>
              </a:rPr>
              <a:t>dividual</a:t>
            </a:r>
            <a:r>
              <a:rPr lang="zh-CN" altLang="en-US" sz="2400" dirty="0">
                <a:solidFill>
                  <a:schemeClr val="tx1"/>
                </a:solidFill>
                <a:latin typeface="Palatino Linotype" panose="02040502050505030304" pitchFamily="18" charset="0"/>
              </a:rPr>
              <a:t> </a:t>
            </a:r>
            <a:r>
              <a:rPr lang="en-US" altLang="zh-CN" sz="2400" dirty="0">
                <a:solidFill>
                  <a:schemeClr val="tx1"/>
                </a:solidFill>
                <a:latin typeface="Palatino Linotype" panose="02040502050505030304" pitchFamily="18" charset="0"/>
              </a:rPr>
              <a:t>investors</a:t>
            </a:r>
          </a:p>
          <a:p>
            <a:pPr marL="465750" lvl="1" indent="-285750">
              <a:buClr>
                <a:srgbClr val="8E2929"/>
              </a:buClr>
              <a:buFont typeface="Wingdings" pitchFamily="2" charset="2"/>
              <a:buChar char="ü"/>
            </a:pPr>
            <a:r>
              <a:rPr lang="en-US" altLang="zh-CN" sz="2400" dirty="0">
                <a:solidFill>
                  <a:schemeClr val="tx1"/>
                </a:solidFill>
                <a:latin typeface="Palatino Linotype" panose="02040502050505030304" pitchFamily="18" charset="0"/>
              </a:rPr>
              <a:t>I</a:t>
            </a:r>
            <a:r>
              <a:rPr lang="en-US" sz="2400" dirty="0">
                <a:solidFill>
                  <a:schemeClr val="tx1"/>
                </a:solidFill>
                <a:latin typeface="Palatino Linotype" panose="02040502050505030304" pitchFamily="18" charset="0"/>
              </a:rPr>
              <a:t>dle funds</a:t>
            </a:r>
          </a:p>
          <a:p>
            <a:pPr marL="465750" lvl="1" indent="-285750">
              <a:buClr>
                <a:srgbClr val="8E2929"/>
              </a:buClr>
              <a:buFont typeface="Wingdings" pitchFamily="2" charset="2"/>
              <a:buChar char="ü"/>
            </a:pPr>
            <a:r>
              <a:rPr lang="en-US" altLang="zh-CN" sz="2400" dirty="0">
                <a:solidFill>
                  <a:schemeClr val="tx1"/>
                </a:solidFill>
                <a:latin typeface="Palatino Linotype" panose="02040502050505030304" pitchFamily="18" charset="0"/>
              </a:rPr>
              <a:t>D</a:t>
            </a:r>
            <a:r>
              <a:rPr lang="en-US" sz="2400" dirty="0">
                <a:solidFill>
                  <a:schemeClr val="tx1"/>
                </a:solidFill>
                <a:latin typeface="Palatino Linotype" panose="02040502050505030304" pitchFamily="18" charset="0"/>
              </a:rPr>
              <a:t>raw money whenever </a:t>
            </a:r>
            <a:r>
              <a:rPr lang="en-US" altLang="zh-CN" sz="2400" dirty="0">
                <a:solidFill>
                  <a:schemeClr val="tx1"/>
                </a:solidFill>
                <a:latin typeface="Palatino Linotype" panose="02040502050505030304" pitchFamily="18" charset="0"/>
              </a:rPr>
              <a:t>they</a:t>
            </a:r>
            <a:r>
              <a:rPr lang="en-US" sz="2400" dirty="0">
                <a:solidFill>
                  <a:schemeClr val="tx1"/>
                </a:solidFill>
                <a:latin typeface="Palatino Linotype" panose="02040502050505030304" pitchFamily="18" charset="0"/>
              </a:rPr>
              <a:t> need</a:t>
            </a:r>
          </a:p>
          <a:p>
            <a:pPr marL="465750" lvl="1" indent="-285750">
              <a:buClr>
                <a:srgbClr val="8E2929"/>
              </a:buClr>
              <a:buFont typeface="Wingdings" pitchFamily="2" charset="2"/>
              <a:buChar char="ü"/>
            </a:pPr>
            <a:r>
              <a:rPr lang="en-US" altLang="zh-CN" sz="2400" dirty="0">
                <a:solidFill>
                  <a:schemeClr val="tx1"/>
                </a:solidFill>
                <a:latin typeface="Palatino Linotype" panose="02040502050505030304" pitchFamily="18" charset="0"/>
              </a:rPr>
              <a:t>Holiday</a:t>
            </a:r>
            <a:r>
              <a:rPr lang="zh-CN" altLang="en-US" sz="2400" dirty="0">
                <a:solidFill>
                  <a:schemeClr val="tx1"/>
                </a:solidFill>
                <a:latin typeface="Palatino Linotype" panose="02040502050505030304" pitchFamily="18" charset="0"/>
              </a:rPr>
              <a:t> </a:t>
            </a:r>
            <a:r>
              <a:rPr lang="en-US" altLang="zh-CN" sz="2400" dirty="0">
                <a:solidFill>
                  <a:schemeClr val="tx1"/>
                </a:solidFill>
                <a:latin typeface="Palatino Linotype" panose="02040502050505030304" pitchFamily="18" charset="0"/>
              </a:rPr>
              <a:t>Effect</a:t>
            </a:r>
          </a:p>
          <a:p>
            <a:pPr marL="465750" lvl="1" indent="-285750">
              <a:buFont typeface="Wingdings" pitchFamily="2" charset="2"/>
              <a:buChar char="ü"/>
            </a:pPr>
            <a:endParaRPr lang="en-US" sz="2000" dirty="0">
              <a:solidFill>
                <a:schemeClr val="tx1"/>
              </a:solidFill>
              <a:latin typeface="Palatino Linotype" panose="02040502050505030304" pitchFamily="18" charset="0"/>
            </a:endParaRPr>
          </a:p>
        </p:txBody>
      </p:sp>
      <p:pic>
        <p:nvPicPr>
          <p:cNvPr id="13" name="图片 12">
            <a:extLst>
              <a:ext uri="{FF2B5EF4-FFF2-40B4-BE49-F238E27FC236}">
                <a16:creationId xmlns:a16="http://schemas.microsoft.com/office/drawing/2014/main" id="{5BA2417F-0D49-1146-9C00-86D31413C646}"/>
              </a:ext>
            </a:extLst>
          </p:cNvPr>
          <p:cNvPicPr>
            <a:picLocks noChangeAspect="1"/>
          </p:cNvPicPr>
          <p:nvPr/>
        </p:nvPicPr>
        <p:blipFill rotWithShape="1">
          <a:blip r:embed="rId4">
            <a:extLst>
              <a:ext uri="{28A0092B-C50C-407E-A947-70E740481C1C}">
                <a14:useLocalDpi xmlns:a14="http://schemas.microsoft.com/office/drawing/2010/main" val="0"/>
              </a:ext>
            </a:extLst>
          </a:blip>
          <a:srcRect t="7854"/>
          <a:stretch/>
        </p:blipFill>
        <p:spPr>
          <a:xfrm>
            <a:off x="5168230" y="3717826"/>
            <a:ext cx="4247742" cy="2534613"/>
          </a:xfrm>
          <a:prstGeom prst="rect">
            <a:avLst/>
          </a:prstGeom>
        </p:spPr>
      </p:pic>
      <p:graphicFrame>
        <p:nvGraphicFramePr>
          <p:cNvPr id="10" name="图表 9"/>
          <p:cNvGraphicFramePr>
            <a:graphicFrameLocks/>
          </p:cNvGraphicFramePr>
          <p:nvPr/>
        </p:nvGraphicFramePr>
        <p:xfrm>
          <a:off x="488441" y="1665598"/>
          <a:ext cx="4318508" cy="4643127"/>
        </p:xfrm>
        <a:graphic>
          <a:graphicData uri="http://schemas.openxmlformats.org/drawingml/2006/chart">
            <c:chart xmlns:c="http://schemas.openxmlformats.org/drawingml/2006/chart" xmlns:r="http://schemas.openxmlformats.org/officeDocument/2006/relationships" r:id="rId5"/>
          </a:graphicData>
        </a:graphic>
      </p:graphicFrame>
      <p:sp>
        <p:nvSpPr>
          <p:cNvPr id="11" name="文本框 10">
            <a:extLst>
              <a:ext uri="{FF2B5EF4-FFF2-40B4-BE49-F238E27FC236}">
                <a16:creationId xmlns:a16="http://schemas.microsoft.com/office/drawing/2014/main" id="{A3EA0CC7-1143-2D48-B807-0AA3C3FB9265}"/>
              </a:ext>
            </a:extLst>
          </p:cNvPr>
          <p:cNvSpPr txBox="1"/>
          <p:nvPr/>
        </p:nvSpPr>
        <p:spPr>
          <a:xfrm>
            <a:off x="444860" y="6562142"/>
            <a:ext cx="2923170" cy="199285"/>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kumimoji="1" lang="en-US" altLang="zh-CN" sz="1400" dirty="0">
                <a:latin typeface="Palatino" pitchFamily="2" charset="0"/>
                <a:ea typeface="Palatino" pitchFamily="2" charset="0"/>
                <a:cs typeface="Arial" pitchFamily="34" charset="0"/>
              </a:rPr>
              <a:t>Source:</a:t>
            </a:r>
            <a:r>
              <a:rPr kumimoji="1" lang="zh-CN" altLang="en-US" sz="1400" dirty="0">
                <a:latin typeface="Palatino" pitchFamily="2" charset="0"/>
                <a:ea typeface="Palatino" pitchFamily="2" charset="0"/>
                <a:cs typeface="Arial" pitchFamily="34" charset="0"/>
              </a:rPr>
              <a:t> </a:t>
            </a:r>
            <a:r>
              <a:rPr kumimoji="1" lang="en-US" altLang="zh-CN" sz="1400" dirty="0">
                <a:latin typeface="Palatino" pitchFamily="2" charset="0"/>
                <a:ea typeface="Palatino" pitchFamily="2" charset="0"/>
                <a:cs typeface="Arial" pitchFamily="34" charset="0"/>
              </a:rPr>
              <a:t>the</a:t>
            </a:r>
            <a:r>
              <a:rPr kumimoji="1" lang="zh-CN" altLang="en-US" sz="1400" dirty="0">
                <a:latin typeface="Palatino" pitchFamily="2" charset="0"/>
                <a:ea typeface="Palatino" pitchFamily="2" charset="0"/>
                <a:cs typeface="Arial" pitchFamily="34" charset="0"/>
              </a:rPr>
              <a:t> </a:t>
            </a:r>
            <a:r>
              <a:rPr kumimoji="1" lang="en-US" altLang="zh-CN" sz="1400" dirty="0">
                <a:latin typeface="Palatino" pitchFamily="2" charset="0"/>
                <a:ea typeface="Palatino" pitchFamily="2" charset="0"/>
                <a:cs typeface="Arial" pitchFamily="34" charset="0"/>
              </a:rPr>
              <a:t>annual</a:t>
            </a:r>
            <a:r>
              <a:rPr kumimoji="1" lang="zh-CN" altLang="en-US" sz="1400" dirty="0">
                <a:latin typeface="Palatino" pitchFamily="2" charset="0"/>
                <a:ea typeface="Palatino" pitchFamily="2" charset="0"/>
                <a:cs typeface="Arial" pitchFamily="34" charset="0"/>
              </a:rPr>
              <a:t> </a:t>
            </a:r>
            <a:r>
              <a:rPr kumimoji="1" lang="en-US" altLang="zh-CN" sz="1400" dirty="0">
                <a:latin typeface="Palatino" pitchFamily="2" charset="0"/>
                <a:ea typeface="Palatino" pitchFamily="2" charset="0"/>
                <a:cs typeface="Arial" pitchFamily="34" charset="0"/>
              </a:rPr>
              <a:t>report</a:t>
            </a:r>
            <a:r>
              <a:rPr kumimoji="1" lang="zh-CN" altLang="en-US" sz="1400" dirty="0">
                <a:latin typeface="Palatino" pitchFamily="2" charset="0"/>
                <a:ea typeface="Palatino" pitchFamily="2" charset="0"/>
                <a:cs typeface="Arial" pitchFamily="34" charset="0"/>
              </a:rPr>
              <a:t> </a:t>
            </a:r>
            <a:r>
              <a:rPr kumimoji="1" lang="en-US" altLang="zh-CN" sz="1400" dirty="0">
                <a:latin typeface="Palatino" pitchFamily="2" charset="0"/>
                <a:ea typeface="Palatino" pitchFamily="2" charset="0"/>
                <a:cs typeface="Arial" pitchFamily="34" charset="0"/>
              </a:rPr>
              <a:t>in</a:t>
            </a:r>
            <a:r>
              <a:rPr kumimoji="1" lang="zh-CN" altLang="en-US" sz="1400" dirty="0">
                <a:latin typeface="Palatino" pitchFamily="2" charset="0"/>
                <a:ea typeface="Palatino" pitchFamily="2" charset="0"/>
                <a:cs typeface="Arial" pitchFamily="34" charset="0"/>
              </a:rPr>
              <a:t> </a:t>
            </a:r>
            <a:r>
              <a:rPr kumimoji="1" lang="en-US" altLang="zh-CN" sz="1400" dirty="0">
                <a:latin typeface="Palatino" pitchFamily="2" charset="0"/>
                <a:ea typeface="Palatino" pitchFamily="2" charset="0"/>
                <a:cs typeface="Arial" pitchFamily="34" charset="0"/>
              </a:rPr>
              <a:t>2014</a:t>
            </a:r>
            <a:endParaRPr kumimoji="1" lang="zh-CN" altLang="en-US" sz="1400" dirty="0">
              <a:latin typeface="Palatino" pitchFamily="2" charset="0"/>
              <a:ea typeface="Palatino" pitchFamily="2" charset="0"/>
              <a:cs typeface="Arial" pitchFamily="34" charset="0"/>
            </a:endParaRPr>
          </a:p>
        </p:txBody>
      </p:sp>
    </p:spTree>
    <p:extLst>
      <p:ext uri="{BB962C8B-B14F-4D97-AF65-F5344CB8AC3E}">
        <p14:creationId xmlns:p14="http://schemas.microsoft.com/office/powerpoint/2010/main" val="33606223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z="2800" dirty="0"/>
              <a:t>Holiday features</a:t>
            </a:r>
            <a:endParaRPr lang="en-US" dirty="0"/>
          </a:p>
        </p:txBody>
      </p:sp>
      <p:sp>
        <p:nvSpPr>
          <p:cNvPr id="3" name="Slide Number Placeholder 11"/>
          <p:cNvSpPr txBox="1">
            <a:spLocks/>
          </p:cNvSpPr>
          <p:nvPr/>
        </p:nvSpPr>
        <p:spPr>
          <a:xfrm>
            <a:off x="415925" y="6554788"/>
            <a:ext cx="346075" cy="142875"/>
          </a:xfrm>
          <a:prstGeom prst="rect">
            <a:avLst/>
          </a:prstGeom>
        </p:spPr>
        <p:txBody>
          <a:bodyPr/>
          <a:lstStyle>
            <a:defPPr>
              <a:defRPr lang="de-DE"/>
            </a:defPPr>
            <a:lvl1pPr marL="0" algn="l" defTabSz="957925" rtl="0" eaLnBrk="1" latinLnBrk="0" hangingPunct="1">
              <a:defRPr sz="1900" kern="1200">
                <a:solidFill>
                  <a:schemeClr val="tx1"/>
                </a:solidFill>
                <a:latin typeface="+mn-lt"/>
                <a:ea typeface="+mn-ea"/>
                <a:cs typeface="+mn-cs"/>
              </a:defRPr>
            </a:lvl1pPr>
            <a:lvl2pPr marL="478963" algn="l" defTabSz="957925" rtl="0" eaLnBrk="1" latinLnBrk="0" hangingPunct="1">
              <a:defRPr sz="1900" kern="1200">
                <a:solidFill>
                  <a:schemeClr val="tx1"/>
                </a:solidFill>
                <a:latin typeface="+mn-lt"/>
                <a:ea typeface="+mn-ea"/>
                <a:cs typeface="+mn-cs"/>
              </a:defRPr>
            </a:lvl2pPr>
            <a:lvl3pPr marL="957925" algn="l" defTabSz="957925" rtl="0" eaLnBrk="1" latinLnBrk="0" hangingPunct="1">
              <a:defRPr sz="1900" kern="1200">
                <a:solidFill>
                  <a:schemeClr val="tx1"/>
                </a:solidFill>
                <a:latin typeface="+mn-lt"/>
                <a:ea typeface="+mn-ea"/>
                <a:cs typeface="+mn-cs"/>
              </a:defRPr>
            </a:lvl3pPr>
            <a:lvl4pPr marL="1436888" algn="l" defTabSz="957925" rtl="0" eaLnBrk="1" latinLnBrk="0" hangingPunct="1">
              <a:defRPr sz="1900" kern="1200">
                <a:solidFill>
                  <a:schemeClr val="tx1"/>
                </a:solidFill>
                <a:latin typeface="+mn-lt"/>
                <a:ea typeface="+mn-ea"/>
                <a:cs typeface="+mn-cs"/>
              </a:defRPr>
            </a:lvl4pPr>
            <a:lvl5pPr marL="1915851" algn="l" defTabSz="957925" rtl="0" eaLnBrk="1" latinLnBrk="0" hangingPunct="1">
              <a:defRPr sz="1900" kern="1200">
                <a:solidFill>
                  <a:schemeClr val="tx1"/>
                </a:solidFill>
                <a:latin typeface="+mn-lt"/>
                <a:ea typeface="+mn-ea"/>
                <a:cs typeface="+mn-cs"/>
              </a:defRPr>
            </a:lvl5pPr>
            <a:lvl6pPr marL="2394814" algn="l" defTabSz="957925" rtl="0" eaLnBrk="1" latinLnBrk="0" hangingPunct="1">
              <a:defRPr sz="1900" kern="1200">
                <a:solidFill>
                  <a:schemeClr val="tx1"/>
                </a:solidFill>
                <a:latin typeface="+mn-lt"/>
                <a:ea typeface="+mn-ea"/>
                <a:cs typeface="+mn-cs"/>
              </a:defRPr>
            </a:lvl6pPr>
            <a:lvl7pPr marL="2873776" algn="l" defTabSz="957925" rtl="0" eaLnBrk="1" latinLnBrk="0" hangingPunct="1">
              <a:defRPr sz="1900" kern="1200">
                <a:solidFill>
                  <a:schemeClr val="tx1"/>
                </a:solidFill>
                <a:latin typeface="+mn-lt"/>
                <a:ea typeface="+mn-ea"/>
                <a:cs typeface="+mn-cs"/>
              </a:defRPr>
            </a:lvl7pPr>
            <a:lvl8pPr marL="3352739" algn="l" defTabSz="957925" rtl="0" eaLnBrk="1" latinLnBrk="0" hangingPunct="1">
              <a:defRPr sz="1900" kern="1200">
                <a:solidFill>
                  <a:schemeClr val="tx1"/>
                </a:solidFill>
                <a:latin typeface="+mn-lt"/>
                <a:ea typeface="+mn-ea"/>
                <a:cs typeface="+mn-cs"/>
              </a:defRPr>
            </a:lvl8pPr>
            <a:lvl9pPr marL="3831702" algn="l" defTabSz="957925" rtl="0" eaLnBrk="1" latinLnBrk="0" hangingPunct="1">
              <a:defRPr sz="1900" kern="1200">
                <a:solidFill>
                  <a:schemeClr val="tx1"/>
                </a:solidFill>
                <a:latin typeface="+mn-lt"/>
                <a:ea typeface="+mn-ea"/>
                <a:cs typeface="+mn-cs"/>
              </a:defRPr>
            </a:lvl9pPr>
          </a:lstStyle>
          <a:p>
            <a:fld id="{A96B2407-E3DE-42EE-BB9A-9ADA55DC3674}" type="slidenum">
              <a:rPr lang="en-US" smtClean="0">
                <a:latin typeface="Palatino Linotype" panose="02040502050505030304" pitchFamily="18" charset="0"/>
              </a:rPr>
              <a:pPr/>
              <a:t>11</a:t>
            </a:fld>
            <a:endParaRPr lang="en-US">
              <a:latin typeface="Palatino Linotype" panose="02040502050505030304" pitchFamily="18" charset="0"/>
            </a:endParaRPr>
          </a:p>
        </p:txBody>
      </p:sp>
      <p:sp>
        <p:nvSpPr>
          <p:cNvPr id="6" name="Text Placeholder 5"/>
          <p:cNvSpPr txBox="1">
            <a:spLocks/>
          </p:cNvSpPr>
          <p:nvPr/>
        </p:nvSpPr>
        <p:spPr>
          <a:xfrm>
            <a:off x="264840" y="2061642"/>
            <a:ext cx="3755461" cy="3154127"/>
          </a:xfrm>
          <a:prstGeom prst="rect">
            <a:avLst/>
          </a:prstGeom>
          <a:solidFill>
            <a:schemeClr val="bg1"/>
          </a:solidFill>
          <a:ln w="12700">
            <a:solidFill>
              <a:schemeClr val="bg2"/>
            </a:solidFill>
          </a:ln>
        </p:spPr>
        <p:txBody>
          <a:bodyPr wrap="square" lIns="3600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endParaRPr lang="en-US" dirty="0">
              <a:solidFill>
                <a:schemeClr val="tx1"/>
              </a:solidFill>
              <a:latin typeface="Palatino Linotype" panose="02040502050505030304" pitchFamily="18" charset="0"/>
            </a:endParaRPr>
          </a:p>
        </p:txBody>
      </p:sp>
      <p:sp>
        <p:nvSpPr>
          <p:cNvPr id="7" name="Text Placeholder 5"/>
          <p:cNvSpPr txBox="1">
            <a:spLocks/>
          </p:cNvSpPr>
          <p:nvPr/>
        </p:nvSpPr>
        <p:spPr>
          <a:xfrm>
            <a:off x="4651374" y="1449574"/>
            <a:ext cx="4729323" cy="4536504"/>
          </a:xfrm>
          <a:prstGeom prst="rect">
            <a:avLst/>
          </a:prstGeom>
          <a:solidFill>
            <a:schemeClr val="bg1"/>
          </a:solidFill>
          <a:ln w="12700">
            <a:solidFill>
              <a:schemeClr val="bg2"/>
            </a:solidFill>
          </a:ln>
        </p:spPr>
        <p:txBody>
          <a:bodyPr wrap="square" lIns="3600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342900" indent="-342900">
              <a:buClr>
                <a:srgbClr val="8E2929"/>
              </a:buClr>
              <a:buFont typeface="Wingdings" pitchFamily="2" charset="2"/>
              <a:buChar char="ü"/>
            </a:pPr>
            <a:r>
              <a:rPr lang="en-US" altLang="zh-CN" sz="2200" dirty="0">
                <a:solidFill>
                  <a:schemeClr val="tx1"/>
                </a:solidFill>
                <a:latin typeface="Palatino Linotype" panose="02040502050505030304" pitchFamily="18" charset="0"/>
              </a:rPr>
              <a:t>F</a:t>
            </a:r>
            <a:r>
              <a:rPr lang="en-US" sz="2200" dirty="0">
                <a:solidFill>
                  <a:schemeClr val="tx1"/>
                </a:solidFill>
                <a:latin typeface="Palatino Linotype" panose="02040502050505030304" pitchFamily="18" charset="0"/>
              </a:rPr>
              <a:t>urther decomposed into</a:t>
            </a:r>
            <a:r>
              <a:rPr lang="en-US" altLang="zh-CN" sz="2200" dirty="0">
                <a:solidFill>
                  <a:schemeClr val="tx1"/>
                </a:solidFill>
                <a:latin typeface="Palatino Linotype" panose="02040502050505030304" pitchFamily="18" charset="0"/>
              </a:rPr>
              <a:t>:</a:t>
            </a:r>
          </a:p>
          <a:p>
            <a:pPr marL="465750" lvl="1" indent="-285750">
              <a:buClr>
                <a:srgbClr val="8E2929"/>
              </a:buClr>
              <a:buFont typeface="Wingdings" pitchFamily="2" charset="2"/>
              <a:buChar char="Ø"/>
            </a:pPr>
            <a:r>
              <a:rPr lang="en-US" sz="2200" dirty="0">
                <a:solidFill>
                  <a:schemeClr val="tx1"/>
                </a:solidFill>
                <a:latin typeface="Palatino Linotype" panose="02040502050505030304" pitchFamily="18" charset="0"/>
              </a:rPr>
              <a:t>Consumption</a:t>
            </a:r>
          </a:p>
          <a:p>
            <a:pPr marL="465750" lvl="1" indent="-285750">
              <a:buClr>
                <a:srgbClr val="8E2929"/>
              </a:buClr>
              <a:buFont typeface="Wingdings" pitchFamily="2" charset="2"/>
              <a:buChar char="Ø"/>
            </a:pPr>
            <a:r>
              <a:rPr lang="en-US" altLang="zh-CN" sz="2200" dirty="0">
                <a:solidFill>
                  <a:schemeClr val="tx1"/>
                </a:solidFill>
                <a:latin typeface="Palatino Linotype" panose="02040502050505030304" pitchFamily="18" charset="0"/>
              </a:rPr>
              <a:t>W</a:t>
            </a:r>
            <a:r>
              <a:rPr lang="en-US" sz="2200" dirty="0">
                <a:solidFill>
                  <a:schemeClr val="tx1"/>
                </a:solidFill>
                <a:latin typeface="Palatino Linotype" panose="02040502050505030304" pitchFamily="18" charset="0"/>
              </a:rPr>
              <a:t>ithdrawal</a:t>
            </a:r>
          </a:p>
          <a:p>
            <a:endParaRPr lang="en-US" sz="2200" dirty="0">
              <a:solidFill>
                <a:schemeClr val="tx1"/>
              </a:solidFill>
              <a:latin typeface="Palatino Linotype" panose="02040502050505030304" pitchFamily="18" charset="0"/>
            </a:endParaRPr>
          </a:p>
          <a:p>
            <a:pPr marL="342900" indent="-342900">
              <a:buClr>
                <a:srgbClr val="8E2929"/>
              </a:buClr>
              <a:buFont typeface="Wingdings" pitchFamily="2" charset="2"/>
              <a:buChar char="ü"/>
            </a:pPr>
            <a:r>
              <a:rPr lang="en-US" sz="2200" dirty="0">
                <a:solidFill>
                  <a:schemeClr val="tx1"/>
                </a:solidFill>
                <a:latin typeface="Palatino Linotype" panose="02040502050505030304" pitchFamily="18" charset="0"/>
              </a:rPr>
              <a:t>Average daily consumption of Yu ‘</a:t>
            </a:r>
            <a:r>
              <a:rPr lang="en-US" sz="2200" dirty="0" err="1">
                <a:solidFill>
                  <a:schemeClr val="tx1"/>
                </a:solidFill>
                <a:latin typeface="Palatino Linotype" panose="02040502050505030304" pitchFamily="18" charset="0"/>
              </a:rPr>
              <a:t>ebao</a:t>
            </a:r>
            <a:r>
              <a:rPr lang="en-US" sz="2200" dirty="0">
                <a:solidFill>
                  <a:schemeClr val="tx1"/>
                </a:solidFill>
                <a:latin typeface="Palatino Linotype" panose="02040502050505030304" pitchFamily="18" charset="0"/>
              </a:rPr>
              <a:t> </a:t>
            </a:r>
            <a:r>
              <a:rPr lang="en-US" altLang="zh-CN" sz="2200" dirty="0">
                <a:solidFill>
                  <a:schemeClr val="tx1"/>
                </a:solidFill>
                <a:latin typeface="Palatino Linotype" panose="02040502050505030304" pitchFamily="18" charset="0"/>
              </a:rPr>
              <a:t>=</a:t>
            </a:r>
            <a:r>
              <a:rPr lang="zh-CN" altLang="en-US" sz="2200" dirty="0">
                <a:solidFill>
                  <a:schemeClr val="tx1"/>
                </a:solidFill>
                <a:latin typeface="Palatino Linotype" panose="02040502050505030304" pitchFamily="18" charset="0"/>
              </a:rPr>
              <a:t> </a:t>
            </a:r>
            <a:r>
              <a:rPr lang="en-US" altLang="zh-CN" sz="2200" dirty="0">
                <a:solidFill>
                  <a:schemeClr val="tx1"/>
                </a:solidFill>
                <a:latin typeface="Palatino Linotype" panose="02040502050505030304" pitchFamily="18" charset="0"/>
              </a:rPr>
              <a:t>3</a:t>
            </a:r>
            <a:r>
              <a:rPr lang="zh-CN" altLang="en-US" sz="2200" dirty="0">
                <a:solidFill>
                  <a:schemeClr val="tx1"/>
                </a:solidFill>
                <a:latin typeface="Palatino Linotype" panose="02040502050505030304" pitchFamily="18" charset="0"/>
              </a:rPr>
              <a:t>*</a:t>
            </a:r>
            <a:r>
              <a:rPr lang="en-US" sz="2200" dirty="0">
                <a:solidFill>
                  <a:schemeClr val="tx1"/>
                </a:solidFill>
                <a:latin typeface="Palatino Linotype" panose="02040502050505030304" pitchFamily="18" charset="0"/>
              </a:rPr>
              <a:t>the withdrawal times</a:t>
            </a:r>
          </a:p>
          <a:p>
            <a:pPr marL="285750" indent="-285750">
              <a:buFont typeface="Wingdings" pitchFamily="2" charset="2"/>
              <a:buChar char="l"/>
            </a:pPr>
            <a:endParaRPr lang="en-US" sz="2200" dirty="0">
              <a:solidFill>
                <a:schemeClr val="tx1"/>
              </a:solidFill>
              <a:latin typeface="Palatino Linotype" panose="02040502050505030304" pitchFamily="18" charset="0"/>
            </a:endParaRPr>
          </a:p>
          <a:p>
            <a:pPr marL="342900" indent="-342900">
              <a:buClr>
                <a:srgbClr val="8E2929"/>
              </a:buClr>
              <a:buFont typeface="Wingdings" pitchFamily="2" charset="2"/>
              <a:buChar char="ü"/>
            </a:pPr>
            <a:r>
              <a:rPr lang="en-US" sz="2200" dirty="0">
                <a:solidFill>
                  <a:schemeClr val="tx1"/>
                </a:solidFill>
                <a:latin typeface="Palatino Linotype" panose="02040502050505030304" pitchFamily="18" charset="0"/>
              </a:rPr>
              <a:t>Highlighting the e-commerce nature of Yu '</a:t>
            </a:r>
            <a:r>
              <a:rPr lang="en-US" sz="2200" dirty="0" err="1">
                <a:solidFill>
                  <a:schemeClr val="tx1"/>
                </a:solidFill>
                <a:latin typeface="Palatino Linotype" panose="02040502050505030304" pitchFamily="18" charset="0"/>
              </a:rPr>
              <a:t>ebao</a:t>
            </a:r>
            <a:endParaRPr lang="en-US" sz="2200" dirty="0">
              <a:solidFill>
                <a:schemeClr val="tx1"/>
              </a:solidFill>
              <a:latin typeface="Palatino Linotype" panose="02040502050505030304" pitchFamily="18" charset="0"/>
            </a:endParaRPr>
          </a:p>
          <a:p>
            <a:pPr marL="285750" indent="-285750">
              <a:buFont typeface="Wingdings" pitchFamily="2" charset="2"/>
              <a:buChar char="l"/>
            </a:pPr>
            <a:endParaRPr lang="en-US" sz="2200" dirty="0">
              <a:solidFill>
                <a:schemeClr val="tx1"/>
              </a:solidFill>
              <a:latin typeface="Palatino Linotype" panose="02040502050505030304" pitchFamily="18" charset="0"/>
            </a:endParaRPr>
          </a:p>
          <a:p>
            <a:pPr marL="342900" indent="-342900">
              <a:buClr>
                <a:srgbClr val="8E2929"/>
              </a:buClr>
              <a:buFont typeface="Wingdings" pitchFamily="2" charset="2"/>
              <a:buChar char="ü"/>
            </a:pPr>
            <a:r>
              <a:rPr lang="en-US" sz="2200" dirty="0">
                <a:solidFill>
                  <a:schemeClr val="tx1"/>
                </a:solidFill>
                <a:latin typeface="Palatino Linotype" panose="02040502050505030304" pitchFamily="18" charset="0"/>
              </a:rPr>
              <a:t>Holiday features must be constructed</a:t>
            </a:r>
          </a:p>
        </p:txBody>
      </p:sp>
      <p:sp>
        <p:nvSpPr>
          <p:cNvPr id="8" name="Trapezoid 12"/>
          <p:cNvSpPr/>
          <p:nvPr/>
        </p:nvSpPr>
        <p:spPr>
          <a:xfrm rot="16200000">
            <a:off x="2264911" y="3385054"/>
            <a:ext cx="4140000" cy="630000"/>
          </a:xfrm>
          <a:prstGeom prst="trapezoid">
            <a:avLst>
              <a:gd name="adj" fmla="val 98866"/>
            </a:avLst>
          </a:prstGeom>
          <a:gradFill>
            <a:gsLst>
              <a:gs pos="0">
                <a:schemeClr val="bg2"/>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1400">
              <a:latin typeface="Palatino Linotype" panose="02040502050505030304" pitchFamily="18" charset="0"/>
            </a:endParaRPr>
          </a:p>
        </p:txBody>
      </p:sp>
      <p:pic>
        <p:nvPicPr>
          <p:cNvPr id="5" name="图片 4">
            <a:extLst>
              <a:ext uri="{FF2B5EF4-FFF2-40B4-BE49-F238E27FC236}">
                <a16:creationId xmlns:a16="http://schemas.microsoft.com/office/drawing/2014/main" id="{B76C8DCF-0072-384C-8090-A3A885E7398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0580" y="2187458"/>
            <a:ext cx="3755461" cy="2885214"/>
          </a:xfrm>
          <a:prstGeom prst="rect">
            <a:avLst/>
          </a:prstGeom>
        </p:spPr>
      </p:pic>
    </p:spTree>
    <p:extLst>
      <p:ext uri="{BB962C8B-B14F-4D97-AF65-F5344CB8AC3E}">
        <p14:creationId xmlns:p14="http://schemas.microsoft.com/office/powerpoint/2010/main" val="791652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z="2800" dirty="0"/>
              <a:t>×</a:t>
            </a:r>
            <a:r>
              <a:rPr lang="zh-CN" altLang="en-US" sz="2800" dirty="0"/>
              <a:t> </a:t>
            </a:r>
            <a:r>
              <a:rPr lang="en-US" altLang="zh-CN" sz="2800" dirty="0"/>
              <a:t>GC001</a:t>
            </a:r>
            <a:r>
              <a:rPr lang="zh-CN" altLang="en-US" sz="2800" dirty="0"/>
              <a:t>  </a:t>
            </a:r>
            <a:r>
              <a:rPr lang="en-US" altLang="zh-CN" sz="2800" dirty="0"/>
              <a:t>&amp;</a:t>
            </a:r>
            <a:r>
              <a:rPr lang="zh-CN" altLang="en-US" sz="2800" dirty="0"/>
              <a:t>  </a:t>
            </a:r>
            <a:r>
              <a:rPr lang="en-US" altLang="zh-CN" sz="2800" dirty="0"/>
              <a:t>√</a:t>
            </a:r>
            <a:r>
              <a:rPr lang="zh-CN" altLang="en-US" sz="2800" dirty="0"/>
              <a:t> </a:t>
            </a:r>
            <a:r>
              <a:rPr lang="en-US" altLang="zh-CN" sz="2800" dirty="0" err="1"/>
              <a:t>Shibor</a:t>
            </a:r>
            <a:endParaRPr lang="en-US" altLang="zh-CN" sz="2800" dirty="0"/>
          </a:p>
        </p:txBody>
      </p:sp>
      <p:sp>
        <p:nvSpPr>
          <p:cNvPr id="3" name="Text Placeholder 5"/>
          <p:cNvSpPr txBox="1">
            <a:spLocks/>
          </p:cNvSpPr>
          <p:nvPr>
            <p:custDataLst>
              <p:tags r:id="rId1"/>
            </p:custDataLst>
          </p:nvPr>
        </p:nvSpPr>
        <p:spPr>
          <a:xfrm>
            <a:off x="271686" y="1286737"/>
            <a:ext cx="4326383" cy="5077146"/>
          </a:xfrm>
          <a:prstGeom prst="homePlate">
            <a:avLst>
              <a:gd name="adj" fmla="val 8173"/>
            </a:avLst>
          </a:prstGeom>
          <a:solidFill>
            <a:schemeClr val="bg1"/>
          </a:solidFill>
          <a:ln w="12700">
            <a:solidFill>
              <a:schemeClr val="bg2"/>
            </a:solidFill>
          </a:ln>
        </p:spPr>
        <p:txBody>
          <a:bodyPr wrap="square" lIns="3600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endParaRPr lang="en-US" dirty="0">
              <a:solidFill>
                <a:schemeClr val="tx1"/>
              </a:solidFill>
              <a:latin typeface="Palatino Linotype" panose="02040502050505030304" pitchFamily="18" charset="0"/>
            </a:endParaRPr>
          </a:p>
        </p:txBody>
      </p:sp>
      <p:sp>
        <p:nvSpPr>
          <p:cNvPr id="6" name="Text Placeholder 5"/>
          <p:cNvSpPr txBox="1">
            <a:spLocks/>
          </p:cNvSpPr>
          <p:nvPr/>
        </p:nvSpPr>
        <p:spPr>
          <a:xfrm flipH="1">
            <a:off x="5739477" y="1286737"/>
            <a:ext cx="3749232" cy="5311409"/>
          </a:xfrm>
          <a:prstGeom prst="homePlate">
            <a:avLst>
              <a:gd name="adj" fmla="val 8173"/>
            </a:avLst>
          </a:prstGeom>
          <a:solidFill>
            <a:schemeClr val="bg1"/>
          </a:solidFill>
          <a:ln w="12700">
            <a:solidFill>
              <a:schemeClr val="bg2"/>
            </a:solidFill>
          </a:ln>
        </p:spPr>
        <p:txBody>
          <a:bodyPr wrap="square" lIns="18000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342900" indent="-342900">
              <a:buClr>
                <a:srgbClr val="8E2929"/>
              </a:buClr>
              <a:buFont typeface="Wingdings" pitchFamily="2" charset="2"/>
              <a:buChar char="ü"/>
            </a:pPr>
            <a:r>
              <a:rPr lang="en-US" sz="2400" dirty="0">
                <a:solidFill>
                  <a:schemeClr val="tx1"/>
                </a:solidFill>
                <a:latin typeface="Palatino Linotype" panose="02040502050505030304" pitchFamily="18" charset="0"/>
              </a:rPr>
              <a:t>Inter-bank market: </a:t>
            </a:r>
            <a:r>
              <a:rPr lang="en-US" altLang="zh-CN" sz="2400" dirty="0">
                <a:solidFill>
                  <a:schemeClr val="tx1"/>
                </a:solidFill>
                <a:latin typeface="Palatino Linotype" panose="02040502050505030304" pitchFamily="18" charset="0"/>
              </a:rPr>
              <a:t>P</a:t>
            </a:r>
            <a:r>
              <a:rPr lang="en-US" sz="2400" dirty="0">
                <a:solidFill>
                  <a:schemeClr val="tx1"/>
                </a:solidFill>
                <a:latin typeface="Palatino Linotype" panose="02040502050505030304" pitchFamily="18" charset="0"/>
              </a:rPr>
              <a:t>eople‘s Bank</a:t>
            </a:r>
            <a:r>
              <a:rPr lang="zh-CN" altLang="en-US" sz="2400" dirty="0">
                <a:solidFill>
                  <a:schemeClr val="tx1"/>
                </a:solidFill>
                <a:latin typeface="Palatino Linotype" panose="02040502050505030304" pitchFamily="18" charset="0"/>
              </a:rPr>
              <a:t> </a:t>
            </a:r>
            <a:r>
              <a:rPr lang="en-US" altLang="zh-CN" sz="2400" dirty="0">
                <a:solidFill>
                  <a:schemeClr val="tx1"/>
                </a:solidFill>
                <a:latin typeface="Palatino Linotype" panose="02040502050505030304" pitchFamily="18" charset="0"/>
              </a:rPr>
              <a:t>of</a:t>
            </a:r>
            <a:r>
              <a:rPr lang="zh-CN" altLang="en-US" sz="2400" dirty="0">
                <a:solidFill>
                  <a:schemeClr val="tx1"/>
                </a:solidFill>
                <a:latin typeface="Palatino Linotype" panose="02040502050505030304" pitchFamily="18" charset="0"/>
              </a:rPr>
              <a:t> </a:t>
            </a:r>
            <a:r>
              <a:rPr lang="en-US" altLang="zh-CN" sz="2400" dirty="0">
                <a:solidFill>
                  <a:schemeClr val="tx1"/>
                </a:solidFill>
                <a:latin typeface="Palatino Linotype" panose="02040502050505030304" pitchFamily="18" charset="0"/>
              </a:rPr>
              <a:t>China</a:t>
            </a:r>
            <a:r>
              <a:rPr lang="en-US" sz="2400" dirty="0">
                <a:solidFill>
                  <a:schemeClr val="tx1"/>
                </a:solidFill>
                <a:latin typeface="Palatino Linotype" panose="02040502050505030304" pitchFamily="18" charset="0"/>
              </a:rPr>
              <a:t>, Commercial</a:t>
            </a:r>
            <a:r>
              <a:rPr lang="zh-CN" altLang="en-US" sz="2400" dirty="0">
                <a:solidFill>
                  <a:schemeClr val="tx1"/>
                </a:solidFill>
                <a:latin typeface="Palatino Linotype" panose="02040502050505030304" pitchFamily="18" charset="0"/>
              </a:rPr>
              <a:t> </a:t>
            </a:r>
            <a:r>
              <a:rPr lang="en-US" sz="2400" dirty="0">
                <a:solidFill>
                  <a:schemeClr val="tx1"/>
                </a:solidFill>
                <a:latin typeface="Palatino Linotype" panose="02040502050505030304" pitchFamily="18" charset="0"/>
              </a:rPr>
              <a:t>Banks, </a:t>
            </a:r>
            <a:r>
              <a:rPr lang="en-US" altLang="zh-CN" sz="2400" dirty="0">
                <a:solidFill>
                  <a:schemeClr val="tx1"/>
                </a:solidFill>
                <a:latin typeface="Palatino Linotype" panose="02040502050505030304" pitchFamily="18" charset="0"/>
              </a:rPr>
              <a:t>S</a:t>
            </a:r>
            <a:r>
              <a:rPr lang="en-US" sz="2400" dirty="0">
                <a:solidFill>
                  <a:schemeClr val="tx1"/>
                </a:solidFill>
                <a:latin typeface="Palatino Linotype" panose="02040502050505030304" pitchFamily="18" charset="0"/>
              </a:rPr>
              <a:t>ecurities </a:t>
            </a:r>
            <a:r>
              <a:rPr lang="en-US" altLang="zh-CN" sz="2400" dirty="0">
                <a:solidFill>
                  <a:schemeClr val="tx1"/>
                </a:solidFill>
                <a:latin typeface="Palatino Linotype" panose="02040502050505030304" pitchFamily="18" charset="0"/>
              </a:rPr>
              <a:t>F</a:t>
            </a:r>
            <a:r>
              <a:rPr lang="en-US" sz="2400" dirty="0">
                <a:solidFill>
                  <a:schemeClr val="tx1"/>
                </a:solidFill>
                <a:latin typeface="Palatino Linotype" panose="02040502050505030304" pitchFamily="18" charset="0"/>
              </a:rPr>
              <a:t>irms, </a:t>
            </a:r>
            <a:r>
              <a:rPr lang="en-US" altLang="zh-CN" sz="2400" dirty="0">
                <a:solidFill>
                  <a:schemeClr val="tx1"/>
                </a:solidFill>
                <a:latin typeface="Palatino Linotype" panose="02040502050505030304" pitchFamily="18" charset="0"/>
              </a:rPr>
              <a:t>M</a:t>
            </a:r>
            <a:r>
              <a:rPr lang="en-US" sz="2400" dirty="0">
                <a:solidFill>
                  <a:schemeClr val="tx1"/>
                </a:solidFill>
                <a:latin typeface="Palatino Linotype" panose="02040502050505030304" pitchFamily="18" charset="0"/>
              </a:rPr>
              <a:t>onetary </a:t>
            </a:r>
            <a:r>
              <a:rPr lang="en-US" altLang="zh-CN" sz="2400" dirty="0">
                <a:solidFill>
                  <a:schemeClr val="tx1"/>
                </a:solidFill>
                <a:latin typeface="Palatino Linotype" panose="02040502050505030304" pitchFamily="18" charset="0"/>
              </a:rPr>
              <a:t>F</a:t>
            </a:r>
            <a:r>
              <a:rPr lang="en-US" sz="2400" dirty="0">
                <a:solidFill>
                  <a:schemeClr val="tx1"/>
                </a:solidFill>
                <a:latin typeface="Palatino Linotype" panose="02040502050505030304" pitchFamily="18" charset="0"/>
              </a:rPr>
              <a:t>unds, </a:t>
            </a:r>
            <a:r>
              <a:rPr lang="en-US" altLang="zh-CN" sz="2400" dirty="0">
                <a:solidFill>
                  <a:schemeClr val="tx1"/>
                </a:solidFill>
                <a:latin typeface="Palatino Linotype" panose="02040502050505030304" pitchFamily="18" charset="0"/>
              </a:rPr>
              <a:t>B</a:t>
            </a:r>
            <a:r>
              <a:rPr lang="en-US" sz="2400" dirty="0">
                <a:solidFill>
                  <a:schemeClr val="tx1"/>
                </a:solidFill>
                <a:latin typeface="Palatino Linotype" panose="02040502050505030304" pitchFamily="18" charset="0"/>
              </a:rPr>
              <a:t>ond </a:t>
            </a:r>
            <a:r>
              <a:rPr lang="en-US" altLang="zh-CN" sz="2400" dirty="0">
                <a:solidFill>
                  <a:schemeClr val="tx1"/>
                </a:solidFill>
                <a:latin typeface="Palatino Linotype" panose="02040502050505030304" pitchFamily="18" charset="0"/>
              </a:rPr>
              <a:t>P</a:t>
            </a:r>
            <a:r>
              <a:rPr lang="en-US" sz="2400" dirty="0">
                <a:solidFill>
                  <a:schemeClr val="tx1"/>
                </a:solidFill>
                <a:latin typeface="Palatino Linotype" panose="02040502050505030304" pitchFamily="18" charset="0"/>
              </a:rPr>
              <a:t>roducts</a:t>
            </a:r>
            <a:r>
              <a:rPr lang="zh-CN" altLang="en-US" sz="2400" dirty="0">
                <a:solidFill>
                  <a:schemeClr val="tx1"/>
                </a:solidFill>
                <a:latin typeface="Palatino Linotype" panose="02040502050505030304" pitchFamily="18" charset="0"/>
              </a:rPr>
              <a:t>，</a:t>
            </a:r>
            <a:r>
              <a:rPr lang="en-US" altLang="zh-CN" sz="2400" dirty="0">
                <a:solidFill>
                  <a:schemeClr val="tx1"/>
                </a:solidFill>
                <a:latin typeface="Palatino Linotype" panose="02040502050505030304" pitchFamily="18" charset="0"/>
              </a:rPr>
              <a:t>I</a:t>
            </a:r>
            <a:r>
              <a:rPr lang="en-US" sz="2400" dirty="0">
                <a:solidFill>
                  <a:schemeClr val="tx1"/>
                </a:solidFill>
                <a:latin typeface="Palatino Linotype" panose="02040502050505030304" pitchFamily="18" charset="0"/>
              </a:rPr>
              <a:t>nsurance, </a:t>
            </a:r>
            <a:r>
              <a:rPr lang="en-US" altLang="zh-CN" sz="2400" dirty="0">
                <a:solidFill>
                  <a:schemeClr val="tx1"/>
                </a:solidFill>
                <a:latin typeface="Palatino Linotype" panose="02040502050505030304" pitchFamily="18" charset="0"/>
              </a:rPr>
              <a:t>F</a:t>
            </a:r>
            <a:r>
              <a:rPr lang="en-US" sz="2400" dirty="0">
                <a:solidFill>
                  <a:schemeClr val="tx1"/>
                </a:solidFill>
                <a:latin typeface="Palatino Linotype" panose="02040502050505030304" pitchFamily="18" charset="0"/>
              </a:rPr>
              <a:t>inanc</a:t>
            </a:r>
            <a:r>
              <a:rPr lang="en-US" altLang="zh-CN" sz="2400" dirty="0">
                <a:solidFill>
                  <a:schemeClr val="tx1"/>
                </a:solidFill>
                <a:latin typeface="Palatino Linotype" panose="02040502050505030304" pitchFamily="18" charset="0"/>
              </a:rPr>
              <a:t>ing</a:t>
            </a:r>
            <a:r>
              <a:rPr lang="en-US" sz="2400" dirty="0">
                <a:solidFill>
                  <a:schemeClr val="tx1"/>
                </a:solidFill>
                <a:latin typeface="Palatino Linotype" panose="02040502050505030304" pitchFamily="18" charset="0"/>
              </a:rPr>
              <a:t> companies</a:t>
            </a:r>
          </a:p>
          <a:p>
            <a:pPr marL="342900" indent="-342900">
              <a:buClr>
                <a:srgbClr val="8E2929"/>
              </a:buClr>
              <a:buFont typeface="Wingdings" pitchFamily="2" charset="2"/>
              <a:buChar char="ü"/>
            </a:pPr>
            <a:r>
              <a:rPr lang="en-US" altLang="zh-CN" sz="2400" dirty="0">
                <a:solidFill>
                  <a:schemeClr val="tx1"/>
                </a:solidFill>
                <a:latin typeface="Palatino Linotype" panose="02040502050505030304" pitchFamily="18" charset="0"/>
              </a:rPr>
              <a:t>E</a:t>
            </a:r>
            <a:r>
              <a:rPr lang="en-US" sz="2400" dirty="0">
                <a:solidFill>
                  <a:schemeClr val="tx1"/>
                </a:solidFill>
                <a:latin typeface="Palatino Linotype" panose="02040502050505030304" pitchFamily="18" charset="0"/>
              </a:rPr>
              <a:t>xchange market: retail investors, Equity products</a:t>
            </a:r>
          </a:p>
          <a:p>
            <a:pPr marL="342900" indent="-342900">
              <a:buClr>
                <a:srgbClr val="8E2929"/>
              </a:buClr>
              <a:buFont typeface="Wingdings" pitchFamily="2" charset="2"/>
              <a:buChar char="ü"/>
            </a:pPr>
            <a:endParaRPr lang="en-US" sz="2400" dirty="0">
              <a:solidFill>
                <a:schemeClr val="tx1"/>
              </a:solidFill>
              <a:latin typeface="Palatino Linotype" panose="02040502050505030304" pitchFamily="18" charset="0"/>
            </a:endParaRPr>
          </a:p>
          <a:p>
            <a:pPr marL="285750" indent="-285750">
              <a:buClr>
                <a:srgbClr val="8E2929"/>
              </a:buClr>
              <a:buFont typeface="Wingdings" pitchFamily="2" charset="2"/>
              <a:buChar char="Ø"/>
            </a:pPr>
            <a:r>
              <a:rPr lang="en-US" sz="2400" dirty="0">
                <a:solidFill>
                  <a:schemeClr val="tx1"/>
                </a:solidFill>
                <a:latin typeface="Palatino Linotype" panose="02040502050505030304" pitchFamily="18" charset="0"/>
              </a:rPr>
              <a:t>×</a:t>
            </a:r>
            <a:r>
              <a:rPr lang="zh-CN" altLang="en-US" sz="2400" dirty="0">
                <a:solidFill>
                  <a:schemeClr val="tx1"/>
                </a:solidFill>
                <a:latin typeface="Palatino Linotype" panose="02040502050505030304" pitchFamily="18" charset="0"/>
              </a:rPr>
              <a:t> </a:t>
            </a:r>
            <a:r>
              <a:rPr lang="en-US" altLang="zh-CN" sz="2400" dirty="0">
                <a:solidFill>
                  <a:schemeClr val="tx1"/>
                </a:solidFill>
                <a:latin typeface="Palatino Linotype" panose="02040502050505030304" pitchFamily="18" charset="0"/>
              </a:rPr>
              <a:t>GC001</a:t>
            </a:r>
          </a:p>
          <a:p>
            <a:pPr marL="285750" indent="-285750">
              <a:buClr>
                <a:srgbClr val="8E2929"/>
              </a:buClr>
              <a:buFont typeface="Wingdings" pitchFamily="2" charset="2"/>
              <a:buChar char="Ø"/>
            </a:pPr>
            <a:r>
              <a:rPr lang="en-US" sz="2400" dirty="0">
                <a:solidFill>
                  <a:schemeClr val="tx1"/>
                </a:solidFill>
                <a:latin typeface="Palatino Linotype" panose="02040502050505030304" pitchFamily="18" charset="0"/>
              </a:rPr>
              <a:t>√</a:t>
            </a:r>
            <a:r>
              <a:rPr lang="zh-CN" altLang="en-US" sz="2400" dirty="0">
                <a:solidFill>
                  <a:schemeClr val="tx1"/>
                </a:solidFill>
                <a:latin typeface="Palatino Linotype" panose="02040502050505030304" pitchFamily="18" charset="0"/>
              </a:rPr>
              <a:t> </a:t>
            </a:r>
            <a:r>
              <a:rPr lang="en-US" sz="2400" dirty="0" err="1">
                <a:solidFill>
                  <a:schemeClr val="tx1"/>
                </a:solidFill>
                <a:latin typeface="Palatino Linotype" panose="02040502050505030304" pitchFamily="18" charset="0"/>
              </a:rPr>
              <a:t>Shibor</a:t>
            </a:r>
            <a:endParaRPr lang="en-US" sz="2400" dirty="0">
              <a:solidFill>
                <a:schemeClr val="tx1"/>
              </a:solidFill>
              <a:latin typeface="Palatino Linotype" panose="02040502050505030304" pitchFamily="18" charset="0"/>
            </a:endParaRPr>
          </a:p>
        </p:txBody>
      </p:sp>
      <p:sp>
        <p:nvSpPr>
          <p:cNvPr id="7" name="Oval 3"/>
          <p:cNvSpPr>
            <a:spLocks noChangeArrowheads="1"/>
          </p:cNvSpPr>
          <p:nvPr>
            <p:custDataLst>
              <p:tags r:id="rId2"/>
            </p:custDataLst>
          </p:nvPr>
        </p:nvSpPr>
        <p:spPr bwMode="auto">
          <a:xfrm>
            <a:off x="4356769" y="2812552"/>
            <a:ext cx="1546225" cy="1548000"/>
          </a:xfrm>
          <a:prstGeom prst="ellipse">
            <a:avLst/>
          </a:prstGeom>
          <a:solidFill>
            <a:schemeClr val="bg2"/>
          </a:solidFill>
          <a:ln w="6350" algn="ctr">
            <a:solidFill>
              <a:schemeClr val="bg1"/>
            </a:solidFill>
            <a:round/>
            <a:headEnd/>
            <a:tailEnd/>
          </a:ln>
        </p:spPr>
        <p:txBody>
          <a:bodyPr lIns="36000" tIns="36000" rIns="36000" bIns="36000" anchor="ctr"/>
          <a:lstStyle/>
          <a:p>
            <a:pPr algn="ctr">
              <a:defRPr/>
            </a:pPr>
            <a:r>
              <a:rPr lang="en-US" sz="1800" b="1" dirty="0">
                <a:solidFill>
                  <a:schemeClr val="bg1"/>
                </a:solidFill>
                <a:latin typeface="Palatino Linotype" panose="02040502050505030304" pitchFamily="18" charset="0"/>
                <a:ea typeface="ＭＳ Ｐゴシック" pitchFamily="50" charset="-128"/>
              </a:rPr>
              <a:t>Portfolio</a:t>
            </a:r>
          </a:p>
        </p:txBody>
      </p:sp>
      <p:graphicFrame>
        <p:nvGraphicFramePr>
          <p:cNvPr id="5" name="表格 4">
            <a:extLst>
              <a:ext uri="{FF2B5EF4-FFF2-40B4-BE49-F238E27FC236}">
                <a16:creationId xmlns:a16="http://schemas.microsoft.com/office/drawing/2014/main" id="{8CB9D645-887E-A74C-8162-186D7A47816A}"/>
              </a:ext>
            </a:extLst>
          </p:cNvPr>
          <p:cNvGraphicFramePr>
            <a:graphicFrameLocks noGrp="1"/>
          </p:cNvGraphicFramePr>
          <p:nvPr/>
        </p:nvGraphicFramePr>
        <p:xfrm>
          <a:off x="271686" y="1296784"/>
          <a:ext cx="3960440" cy="5157346"/>
        </p:xfrm>
        <a:graphic>
          <a:graphicData uri="http://schemas.openxmlformats.org/drawingml/2006/table">
            <a:tbl>
              <a:tblPr>
                <a:tableStyleId>{21E4AEA4-8DFA-4A89-87EB-49C32662AFE0}</a:tableStyleId>
              </a:tblPr>
              <a:tblGrid>
                <a:gridCol w="145754">
                  <a:extLst>
                    <a:ext uri="{9D8B030D-6E8A-4147-A177-3AD203B41FA5}">
                      <a16:colId xmlns:a16="http://schemas.microsoft.com/office/drawing/2014/main" val="526116000"/>
                    </a:ext>
                  </a:extLst>
                </a:gridCol>
                <a:gridCol w="1474426">
                  <a:extLst>
                    <a:ext uri="{9D8B030D-6E8A-4147-A177-3AD203B41FA5}">
                      <a16:colId xmlns:a16="http://schemas.microsoft.com/office/drawing/2014/main" val="2439259989"/>
                    </a:ext>
                  </a:extLst>
                </a:gridCol>
                <a:gridCol w="1675746">
                  <a:extLst>
                    <a:ext uri="{9D8B030D-6E8A-4147-A177-3AD203B41FA5}">
                      <a16:colId xmlns:a16="http://schemas.microsoft.com/office/drawing/2014/main" val="544360884"/>
                    </a:ext>
                  </a:extLst>
                </a:gridCol>
                <a:gridCol w="664514">
                  <a:extLst>
                    <a:ext uri="{9D8B030D-6E8A-4147-A177-3AD203B41FA5}">
                      <a16:colId xmlns:a16="http://schemas.microsoft.com/office/drawing/2014/main" val="708380670"/>
                    </a:ext>
                  </a:extLst>
                </a:gridCol>
              </a:tblGrid>
              <a:tr h="792986">
                <a:tc>
                  <a:txBody>
                    <a:bodyPr/>
                    <a:lstStyle/>
                    <a:p>
                      <a:pPr algn="l" fontAlgn="ctr"/>
                      <a:r>
                        <a:rPr lang="zh-CN" altLang="en-US" sz="1400" u="none" strike="noStrike">
                          <a:effectLst/>
                          <a:latin typeface="Palatino" pitchFamily="2" charset="0"/>
                          <a:ea typeface="Palatino" pitchFamily="2" charset="0"/>
                        </a:rPr>
                        <a:t>　</a:t>
                      </a:r>
                      <a:endParaRPr lang="zh-CN" altLang="en-US" sz="1400" b="0" i="0" u="none" strike="noStrike">
                        <a:solidFill>
                          <a:srgbClr val="000000"/>
                        </a:solidFill>
                        <a:effectLst/>
                        <a:latin typeface="Palatino" pitchFamily="2" charset="0"/>
                        <a:ea typeface="Palatino" pitchFamily="2" charset="0"/>
                      </a:endParaRPr>
                    </a:p>
                  </a:txBody>
                  <a:tcPr marL="5388" marR="5388" marT="538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 sz="1400" u="none" strike="noStrike" dirty="0">
                          <a:effectLst/>
                          <a:latin typeface="Palatino" pitchFamily="2" charset="0"/>
                          <a:ea typeface="Palatino" pitchFamily="2" charset="0"/>
                        </a:rPr>
                        <a:t>Projects</a:t>
                      </a:r>
                      <a:endParaRPr lang="en" sz="1400" b="0" i="0" u="none" strike="noStrike" dirty="0">
                        <a:solidFill>
                          <a:srgbClr val="000000"/>
                        </a:solidFill>
                        <a:effectLst/>
                        <a:latin typeface="Palatino" pitchFamily="2" charset="0"/>
                        <a:ea typeface="Palatino" pitchFamily="2" charset="0"/>
                      </a:endParaRPr>
                    </a:p>
                  </a:txBody>
                  <a:tcPr marL="5388" marR="5388" marT="538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 sz="1400" u="none" strike="noStrike">
                          <a:effectLst/>
                          <a:latin typeface="Palatino" pitchFamily="2" charset="0"/>
                          <a:ea typeface="Palatino" pitchFamily="2" charset="0"/>
                        </a:rPr>
                        <a:t>Amount（RMB:Yuan）</a:t>
                      </a:r>
                      <a:endParaRPr lang="en" sz="1400" b="0" i="0" u="none" strike="noStrike">
                        <a:solidFill>
                          <a:srgbClr val="000000"/>
                        </a:solidFill>
                        <a:effectLst/>
                        <a:latin typeface="Palatino" pitchFamily="2" charset="0"/>
                        <a:ea typeface="Palatino" pitchFamily="2" charset="0"/>
                      </a:endParaRPr>
                    </a:p>
                  </a:txBody>
                  <a:tcPr marL="5388" marR="5388" marT="538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 sz="1400" u="none" strike="noStrike" dirty="0">
                          <a:effectLst/>
                          <a:latin typeface="Palatino" pitchFamily="2" charset="0"/>
                          <a:ea typeface="Palatino" pitchFamily="2" charset="0"/>
                        </a:rPr>
                        <a:t>Percentage(%)</a:t>
                      </a:r>
                      <a:endParaRPr lang="en" sz="1400" b="0" i="0" u="none" strike="noStrike" dirty="0">
                        <a:solidFill>
                          <a:srgbClr val="000000"/>
                        </a:solidFill>
                        <a:effectLst/>
                        <a:latin typeface="Palatino" pitchFamily="2" charset="0"/>
                        <a:ea typeface="Palatino" pitchFamily="2" charset="0"/>
                      </a:endParaRPr>
                    </a:p>
                  </a:txBody>
                  <a:tcPr marL="5388" marR="5388" marT="538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46766437"/>
                  </a:ext>
                </a:extLst>
              </a:tr>
              <a:tr h="457173">
                <a:tc>
                  <a:txBody>
                    <a:bodyPr/>
                    <a:lstStyle/>
                    <a:p>
                      <a:pPr algn="l" rtl="0" fontAlgn="ctr"/>
                      <a:r>
                        <a:rPr lang="en-US" altLang="zh-CN" sz="1400" u="none" strike="noStrike">
                          <a:effectLst/>
                          <a:latin typeface="Palatino" pitchFamily="2" charset="0"/>
                          <a:ea typeface="Palatino" pitchFamily="2" charset="0"/>
                        </a:rPr>
                        <a:t>1 </a:t>
                      </a:r>
                      <a:endParaRPr lang="en-US" altLang="zh-CN" sz="1400" b="0" i="0" u="none" strike="noStrike">
                        <a:solidFill>
                          <a:srgbClr val="000000"/>
                        </a:solidFill>
                        <a:effectLst/>
                        <a:latin typeface="Palatino" pitchFamily="2" charset="0"/>
                        <a:ea typeface="Palatino" pitchFamily="2" charset="0"/>
                      </a:endParaRPr>
                    </a:p>
                  </a:txBody>
                  <a:tcPr marL="5388" marR="5388" marT="538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en" sz="1400" u="none" strike="noStrike" dirty="0">
                          <a:effectLst/>
                          <a:latin typeface="Palatino" pitchFamily="2" charset="0"/>
                          <a:ea typeface="Palatino" pitchFamily="2" charset="0"/>
                        </a:rPr>
                        <a:t>Fixed income investment</a:t>
                      </a:r>
                      <a:endParaRPr lang="en" sz="1400" b="0" i="0" u="none" strike="noStrike" dirty="0">
                        <a:solidFill>
                          <a:srgbClr val="000000"/>
                        </a:solidFill>
                        <a:effectLst/>
                        <a:latin typeface="Palatino" pitchFamily="2" charset="0"/>
                        <a:ea typeface="Palatino" pitchFamily="2" charset="0"/>
                      </a:endParaRPr>
                    </a:p>
                  </a:txBody>
                  <a:tcPr marL="5388" marR="5388" marT="538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ctr"/>
                      <a:r>
                        <a:rPr lang="en-US" altLang="zh-CN" sz="1400" u="none" strike="noStrike" dirty="0">
                          <a:effectLst/>
                          <a:latin typeface="Palatino" pitchFamily="2" charset="0"/>
                          <a:ea typeface="Palatino" pitchFamily="2" charset="0"/>
                        </a:rPr>
                        <a:t>46,190,560,822.30 </a:t>
                      </a:r>
                      <a:endParaRPr lang="en-US" altLang="zh-CN" sz="1400" b="0" i="0" u="none" strike="noStrike" dirty="0">
                        <a:solidFill>
                          <a:srgbClr val="000000"/>
                        </a:solidFill>
                        <a:effectLst/>
                        <a:latin typeface="Palatino" pitchFamily="2" charset="0"/>
                        <a:ea typeface="Palatino" pitchFamily="2" charset="0"/>
                      </a:endParaRPr>
                    </a:p>
                  </a:txBody>
                  <a:tcPr marL="5388" marR="5388" marT="538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ctr"/>
                      <a:r>
                        <a:rPr lang="en-US" altLang="zh-CN" sz="1400" u="none" strike="noStrike" dirty="0">
                          <a:effectLst/>
                          <a:latin typeface="Palatino" pitchFamily="2" charset="0"/>
                          <a:ea typeface="Palatino" pitchFamily="2" charset="0"/>
                        </a:rPr>
                        <a:t>7.97 </a:t>
                      </a:r>
                      <a:endParaRPr lang="en-US" altLang="zh-CN" sz="1400" b="0" i="0" u="none" strike="noStrike" dirty="0">
                        <a:solidFill>
                          <a:srgbClr val="000000"/>
                        </a:solidFill>
                        <a:effectLst/>
                        <a:latin typeface="Palatino" pitchFamily="2" charset="0"/>
                        <a:ea typeface="Palatino" pitchFamily="2" charset="0"/>
                      </a:endParaRPr>
                    </a:p>
                  </a:txBody>
                  <a:tcPr marL="5388" marR="5388" marT="538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03946882"/>
                  </a:ext>
                </a:extLst>
              </a:tr>
              <a:tr h="548607">
                <a:tc>
                  <a:txBody>
                    <a:bodyPr/>
                    <a:lstStyle/>
                    <a:p>
                      <a:pPr algn="l" fontAlgn="ctr"/>
                      <a:r>
                        <a:rPr lang="zh-CN" altLang="en-US" sz="1400" u="none" strike="noStrike">
                          <a:effectLst/>
                          <a:latin typeface="Palatino" pitchFamily="2" charset="0"/>
                          <a:ea typeface="Palatino" pitchFamily="2" charset="0"/>
                        </a:rPr>
                        <a:t>　</a:t>
                      </a:r>
                      <a:endParaRPr lang="zh-CN" altLang="en-US" sz="1400" b="0" i="0" u="none" strike="noStrike">
                        <a:solidFill>
                          <a:srgbClr val="000000"/>
                        </a:solidFill>
                        <a:effectLst/>
                        <a:latin typeface="Palatino" pitchFamily="2" charset="0"/>
                        <a:ea typeface="Palatino" pitchFamily="2" charset="0"/>
                      </a:endParaRPr>
                    </a:p>
                  </a:txBody>
                  <a:tcPr marL="5388" marR="5388" marT="538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en" sz="1400" u="none" strike="noStrike">
                          <a:effectLst/>
                          <a:latin typeface="Palatino" pitchFamily="2" charset="0"/>
                          <a:ea typeface="Palatino" pitchFamily="2" charset="0"/>
                        </a:rPr>
                        <a:t>Bonds</a:t>
                      </a:r>
                      <a:endParaRPr lang="en" sz="1400" b="0" i="0" u="none" strike="noStrike">
                        <a:solidFill>
                          <a:srgbClr val="000000"/>
                        </a:solidFill>
                        <a:effectLst/>
                        <a:latin typeface="Palatino" pitchFamily="2" charset="0"/>
                        <a:ea typeface="Palatino" pitchFamily="2" charset="0"/>
                      </a:endParaRPr>
                    </a:p>
                  </a:txBody>
                  <a:tcPr marL="5388" marR="5388" marT="538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ctr"/>
                      <a:r>
                        <a:rPr lang="en-US" altLang="zh-CN" sz="1400" u="none" strike="noStrike" dirty="0">
                          <a:effectLst/>
                          <a:latin typeface="Palatino" pitchFamily="2" charset="0"/>
                          <a:ea typeface="Palatino" pitchFamily="2" charset="0"/>
                        </a:rPr>
                        <a:t>45,369,753,378.68 </a:t>
                      </a:r>
                      <a:endParaRPr lang="en-US" altLang="zh-CN" sz="1400" b="0" i="0" u="none" strike="noStrike" dirty="0">
                        <a:solidFill>
                          <a:srgbClr val="000000"/>
                        </a:solidFill>
                        <a:effectLst/>
                        <a:latin typeface="Palatino" pitchFamily="2" charset="0"/>
                        <a:ea typeface="Palatino" pitchFamily="2" charset="0"/>
                      </a:endParaRPr>
                    </a:p>
                  </a:txBody>
                  <a:tcPr marL="5388" marR="5388" marT="538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ctr"/>
                      <a:r>
                        <a:rPr lang="en-US" altLang="zh-CN" sz="1400" u="none" strike="noStrike">
                          <a:effectLst/>
                          <a:latin typeface="Palatino" pitchFamily="2" charset="0"/>
                          <a:ea typeface="Palatino" pitchFamily="2" charset="0"/>
                        </a:rPr>
                        <a:t>7.83 </a:t>
                      </a:r>
                      <a:endParaRPr lang="en-US" altLang="zh-CN" sz="1400" b="0" i="0" u="none" strike="noStrike">
                        <a:solidFill>
                          <a:srgbClr val="000000"/>
                        </a:solidFill>
                        <a:effectLst/>
                        <a:latin typeface="Palatino" pitchFamily="2" charset="0"/>
                        <a:ea typeface="Palatino" pitchFamily="2" charset="0"/>
                      </a:endParaRPr>
                    </a:p>
                  </a:txBody>
                  <a:tcPr marL="5388" marR="5388" marT="538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12860300"/>
                  </a:ext>
                </a:extLst>
              </a:tr>
              <a:tr h="548607">
                <a:tc>
                  <a:txBody>
                    <a:bodyPr/>
                    <a:lstStyle/>
                    <a:p>
                      <a:pPr algn="l" fontAlgn="ctr"/>
                      <a:r>
                        <a:rPr lang="zh-CN" altLang="en-US" sz="1400" u="none" strike="noStrike">
                          <a:effectLst/>
                          <a:latin typeface="Palatino" pitchFamily="2" charset="0"/>
                          <a:ea typeface="Palatino" pitchFamily="2" charset="0"/>
                        </a:rPr>
                        <a:t>　</a:t>
                      </a:r>
                      <a:endParaRPr lang="zh-CN" altLang="en-US" sz="1400" b="0" i="0" u="none" strike="noStrike">
                        <a:solidFill>
                          <a:srgbClr val="000000"/>
                        </a:solidFill>
                        <a:effectLst/>
                        <a:latin typeface="Palatino" pitchFamily="2" charset="0"/>
                        <a:ea typeface="Palatino" pitchFamily="2" charset="0"/>
                      </a:endParaRPr>
                    </a:p>
                  </a:txBody>
                  <a:tcPr marL="5388" marR="5388" marT="538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en" sz="1400" u="none" strike="noStrike">
                          <a:effectLst/>
                          <a:latin typeface="Palatino" pitchFamily="2" charset="0"/>
                          <a:ea typeface="Palatino" pitchFamily="2" charset="0"/>
                        </a:rPr>
                        <a:t>ABS</a:t>
                      </a:r>
                      <a:endParaRPr lang="en" sz="1400" b="0" i="0" u="none" strike="noStrike">
                        <a:solidFill>
                          <a:srgbClr val="000000"/>
                        </a:solidFill>
                        <a:effectLst/>
                        <a:latin typeface="Palatino" pitchFamily="2" charset="0"/>
                        <a:ea typeface="Palatino" pitchFamily="2" charset="0"/>
                      </a:endParaRPr>
                    </a:p>
                  </a:txBody>
                  <a:tcPr marL="5388" marR="5388" marT="538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ctr"/>
                      <a:r>
                        <a:rPr lang="en-US" altLang="zh-CN" sz="1400" u="none" strike="noStrike" dirty="0">
                          <a:effectLst/>
                          <a:latin typeface="Palatino" pitchFamily="2" charset="0"/>
                          <a:ea typeface="Palatino" pitchFamily="2" charset="0"/>
                        </a:rPr>
                        <a:t>820,807,443.62 </a:t>
                      </a:r>
                      <a:endParaRPr lang="en-US" altLang="zh-CN" sz="1400" b="0" i="0" u="none" strike="noStrike" dirty="0">
                        <a:solidFill>
                          <a:srgbClr val="000000"/>
                        </a:solidFill>
                        <a:effectLst/>
                        <a:latin typeface="Palatino" pitchFamily="2" charset="0"/>
                        <a:ea typeface="Palatino" pitchFamily="2" charset="0"/>
                      </a:endParaRPr>
                    </a:p>
                  </a:txBody>
                  <a:tcPr marL="5388" marR="5388" marT="538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ctr"/>
                      <a:r>
                        <a:rPr lang="en-US" altLang="zh-CN" sz="1400" u="none" strike="noStrike">
                          <a:effectLst/>
                          <a:latin typeface="Palatino" pitchFamily="2" charset="0"/>
                          <a:ea typeface="Palatino" pitchFamily="2" charset="0"/>
                        </a:rPr>
                        <a:t>0.14 </a:t>
                      </a:r>
                      <a:endParaRPr lang="en-US" altLang="zh-CN" sz="1400" b="0" i="0" u="none" strike="noStrike">
                        <a:solidFill>
                          <a:srgbClr val="000000"/>
                        </a:solidFill>
                        <a:effectLst/>
                        <a:latin typeface="Palatino" pitchFamily="2" charset="0"/>
                        <a:ea typeface="Palatino" pitchFamily="2" charset="0"/>
                      </a:endParaRPr>
                    </a:p>
                  </a:txBody>
                  <a:tcPr marL="5388" marR="5388" marT="538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65157046"/>
                  </a:ext>
                </a:extLst>
              </a:tr>
              <a:tr h="457173">
                <a:tc>
                  <a:txBody>
                    <a:bodyPr/>
                    <a:lstStyle/>
                    <a:p>
                      <a:pPr algn="l" rtl="0" fontAlgn="ctr"/>
                      <a:r>
                        <a:rPr lang="en-US" altLang="zh-CN" sz="1400" u="none" strike="noStrike">
                          <a:effectLst/>
                          <a:latin typeface="Palatino" pitchFamily="2" charset="0"/>
                          <a:ea typeface="Palatino" pitchFamily="2" charset="0"/>
                        </a:rPr>
                        <a:t>2 </a:t>
                      </a:r>
                      <a:endParaRPr lang="en-US" altLang="zh-CN" sz="1400" b="0" i="0" u="none" strike="noStrike">
                        <a:solidFill>
                          <a:srgbClr val="000000"/>
                        </a:solidFill>
                        <a:effectLst/>
                        <a:latin typeface="Palatino" pitchFamily="2" charset="0"/>
                        <a:ea typeface="Palatino" pitchFamily="2" charset="0"/>
                      </a:endParaRPr>
                    </a:p>
                  </a:txBody>
                  <a:tcPr marL="5388" marR="5388" marT="538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l" rtl="0" fontAlgn="ctr"/>
                      <a:r>
                        <a:rPr lang="en" sz="1400" u="none" strike="noStrike">
                          <a:effectLst/>
                          <a:latin typeface="Palatino" pitchFamily="2" charset="0"/>
                          <a:ea typeface="Palatino" pitchFamily="2" charset="0"/>
                        </a:rPr>
                        <a:t>Buy resale financial assets</a:t>
                      </a:r>
                      <a:endParaRPr lang="en" sz="1400" b="0" i="0" u="none" strike="noStrike">
                        <a:solidFill>
                          <a:srgbClr val="000000"/>
                        </a:solidFill>
                        <a:effectLst/>
                        <a:latin typeface="Palatino" pitchFamily="2" charset="0"/>
                        <a:ea typeface="Palatino" pitchFamily="2" charset="0"/>
                      </a:endParaRPr>
                    </a:p>
                  </a:txBody>
                  <a:tcPr marL="5388" marR="5388" marT="538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r" rtl="0" fontAlgn="ctr"/>
                      <a:r>
                        <a:rPr lang="en-US" altLang="zh-CN" sz="1400" u="none" strike="noStrike" dirty="0">
                          <a:effectLst/>
                          <a:latin typeface="Palatino" pitchFamily="2" charset="0"/>
                          <a:ea typeface="Palatino" pitchFamily="2" charset="0"/>
                        </a:rPr>
                        <a:t>41,156,051,875.07 </a:t>
                      </a:r>
                      <a:endParaRPr lang="en-US" altLang="zh-CN" sz="1400" b="0" i="0" u="none" strike="noStrike" dirty="0">
                        <a:solidFill>
                          <a:srgbClr val="000000"/>
                        </a:solidFill>
                        <a:effectLst/>
                        <a:latin typeface="Palatino" pitchFamily="2" charset="0"/>
                        <a:ea typeface="Palatino" pitchFamily="2" charset="0"/>
                      </a:endParaRPr>
                    </a:p>
                  </a:txBody>
                  <a:tcPr marL="5388" marR="5388" marT="538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r" rtl="0" fontAlgn="ctr"/>
                      <a:r>
                        <a:rPr lang="en-US" altLang="zh-CN" sz="1400" u="none" strike="noStrike" dirty="0">
                          <a:effectLst/>
                          <a:latin typeface="Palatino" pitchFamily="2" charset="0"/>
                          <a:ea typeface="Palatino" pitchFamily="2" charset="0"/>
                        </a:rPr>
                        <a:t>7.11 </a:t>
                      </a:r>
                      <a:endParaRPr lang="en-US" altLang="zh-CN" sz="1400" b="0" i="0" u="none" strike="noStrike" dirty="0">
                        <a:solidFill>
                          <a:srgbClr val="000000"/>
                        </a:solidFill>
                        <a:effectLst/>
                        <a:latin typeface="Palatino" pitchFamily="2" charset="0"/>
                        <a:ea typeface="Palatino" pitchFamily="2" charset="0"/>
                      </a:endParaRPr>
                    </a:p>
                  </a:txBody>
                  <a:tcPr marL="5388" marR="5388" marT="538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1556810073"/>
                  </a:ext>
                </a:extLst>
              </a:tr>
              <a:tr h="548607">
                <a:tc>
                  <a:txBody>
                    <a:bodyPr/>
                    <a:lstStyle/>
                    <a:p>
                      <a:pPr algn="l" fontAlgn="ctr"/>
                      <a:r>
                        <a:rPr lang="zh-CN" altLang="en-US" sz="1400" u="none" strike="noStrike">
                          <a:effectLst/>
                          <a:latin typeface="Palatino" pitchFamily="2" charset="0"/>
                          <a:ea typeface="Palatino" pitchFamily="2" charset="0"/>
                        </a:rPr>
                        <a:t>　</a:t>
                      </a:r>
                      <a:endParaRPr lang="zh-CN" altLang="en-US" sz="1400" b="0" i="0" u="none" strike="noStrike">
                        <a:solidFill>
                          <a:srgbClr val="000000"/>
                        </a:solidFill>
                        <a:effectLst/>
                        <a:latin typeface="Palatino" pitchFamily="2" charset="0"/>
                        <a:ea typeface="Palatino" pitchFamily="2" charset="0"/>
                      </a:endParaRPr>
                    </a:p>
                  </a:txBody>
                  <a:tcPr marL="5388" marR="5388" marT="538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en" sz="1400" u="none" strike="noStrike">
                          <a:effectLst/>
                          <a:latin typeface="Palatino" pitchFamily="2" charset="0"/>
                          <a:ea typeface="Palatino" pitchFamily="2" charset="0"/>
                        </a:rPr>
                        <a:t>Redemptory Monetary Capital for Sale</a:t>
                      </a:r>
                      <a:endParaRPr lang="en" sz="1400" b="0" i="0" u="none" strike="noStrike">
                        <a:solidFill>
                          <a:srgbClr val="000000"/>
                        </a:solidFill>
                        <a:effectLst/>
                        <a:latin typeface="Palatino" pitchFamily="2" charset="0"/>
                        <a:ea typeface="Palatino" pitchFamily="2" charset="0"/>
                      </a:endParaRPr>
                    </a:p>
                  </a:txBody>
                  <a:tcPr marL="5388" marR="5388" marT="538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ctr"/>
                      <a:r>
                        <a:rPr lang="en-US" altLang="zh-CN" sz="1400" u="none" strike="noStrike" dirty="0">
                          <a:effectLst/>
                          <a:latin typeface="Palatino" pitchFamily="2" charset="0"/>
                          <a:ea typeface="Palatino" pitchFamily="2" charset="0"/>
                        </a:rPr>
                        <a:t>124,918,607.40 </a:t>
                      </a:r>
                      <a:endParaRPr lang="en-US" altLang="zh-CN" sz="1400" b="0" i="0" u="none" strike="noStrike" dirty="0">
                        <a:solidFill>
                          <a:srgbClr val="000000"/>
                        </a:solidFill>
                        <a:effectLst/>
                        <a:latin typeface="Palatino" pitchFamily="2" charset="0"/>
                        <a:ea typeface="Palatino" pitchFamily="2" charset="0"/>
                      </a:endParaRPr>
                    </a:p>
                  </a:txBody>
                  <a:tcPr marL="5388" marR="5388" marT="538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ctr"/>
                      <a:r>
                        <a:rPr lang="en-US" altLang="zh-CN" sz="1400" u="none" strike="noStrike">
                          <a:effectLst/>
                          <a:latin typeface="Palatino" pitchFamily="2" charset="0"/>
                          <a:ea typeface="Palatino" pitchFamily="2" charset="0"/>
                        </a:rPr>
                        <a:t>0.02 </a:t>
                      </a:r>
                      <a:endParaRPr lang="en-US" altLang="zh-CN" sz="1400" b="0" i="0" u="none" strike="noStrike">
                        <a:solidFill>
                          <a:srgbClr val="000000"/>
                        </a:solidFill>
                        <a:effectLst/>
                        <a:latin typeface="Palatino" pitchFamily="2" charset="0"/>
                        <a:ea typeface="Palatino" pitchFamily="2" charset="0"/>
                      </a:endParaRPr>
                    </a:p>
                  </a:txBody>
                  <a:tcPr marL="5388" marR="5388" marT="538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31300162"/>
                  </a:ext>
                </a:extLst>
              </a:tr>
              <a:tr h="792986">
                <a:tc>
                  <a:txBody>
                    <a:bodyPr/>
                    <a:lstStyle/>
                    <a:p>
                      <a:pPr algn="l" rtl="0" fontAlgn="ctr"/>
                      <a:r>
                        <a:rPr lang="en-US" altLang="zh-CN" sz="1400" u="none" strike="noStrike">
                          <a:effectLst/>
                          <a:latin typeface="Palatino" pitchFamily="2" charset="0"/>
                          <a:ea typeface="Palatino" pitchFamily="2" charset="0"/>
                        </a:rPr>
                        <a:t>3 </a:t>
                      </a:r>
                      <a:endParaRPr lang="en-US" altLang="zh-CN" sz="1400" b="0" i="0" u="none" strike="noStrike">
                        <a:solidFill>
                          <a:srgbClr val="000000"/>
                        </a:solidFill>
                        <a:effectLst/>
                        <a:latin typeface="Palatino" pitchFamily="2" charset="0"/>
                        <a:ea typeface="Palatino" pitchFamily="2" charset="0"/>
                      </a:endParaRPr>
                    </a:p>
                  </a:txBody>
                  <a:tcPr marL="5388" marR="5388" marT="538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l" rtl="0" fontAlgn="ctr"/>
                      <a:r>
                        <a:rPr lang="en" sz="1400" u="none" strike="noStrike">
                          <a:effectLst/>
                          <a:latin typeface="Palatino" pitchFamily="2" charset="0"/>
                          <a:ea typeface="Palatino" pitchFamily="2" charset="0"/>
                        </a:rPr>
                        <a:t>Bank deposits and settlement reserves in total</a:t>
                      </a:r>
                      <a:endParaRPr lang="en" sz="1400" b="0" i="0" u="none" strike="noStrike">
                        <a:solidFill>
                          <a:srgbClr val="000000"/>
                        </a:solidFill>
                        <a:effectLst/>
                        <a:latin typeface="Palatino" pitchFamily="2" charset="0"/>
                        <a:ea typeface="Palatino" pitchFamily="2" charset="0"/>
                      </a:endParaRPr>
                    </a:p>
                  </a:txBody>
                  <a:tcPr marL="5388" marR="5388" marT="538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r" rtl="0" fontAlgn="ctr"/>
                      <a:r>
                        <a:rPr lang="en-US" altLang="zh-CN" sz="1400" u="none" strike="noStrike" dirty="0">
                          <a:effectLst/>
                          <a:latin typeface="Palatino" pitchFamily="2" charset="0"/>
                          <a:ea typeface="Palatino" pitchFamily="2" charset="0"/>
                        </a:rPr>
                        <a:t>490,582,488,639.75 </a:t>
                      </a:r>
                      <a:endParaRPr lang="en-US" altLang="zh-CN" sz="1400" b="0" i="0" u="none" strike="noStrike" dirty="0">
                        <a:solidFill>
                          <a:srgbClr val="000000"/>
                        </a:solidFill>
                        <a:effectLst/>
                        <a:latin typeface="Palatino" pitchFamily="2" charset="0"/>
                        <a:ea typeface="Palatino" pitchFamily="2" charset="0"/>
                      </a:endParaRPr>
                    </a:p>
                  </a:txBody>
                  <a:tcPr marL="5388" marR="5388" marT="538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r" rtl="0" fontAlgn="ctr"/>
                      <a:r>
                        <a:rPr lang="en-US" altLang="zh-CN" sz="1400" u="none" strike="noStrike" dirty="0">
                          <a:effectLst/>
                          <a:latin typeface="Palatino" pitchFamily="2" charset="0"/>
                          <a:ea typeface="Palatino" pitchFamily="2" charset="0"/>
                        </a:rPr>
                        <a:t>84.69 </a:t>
                      </a:r>
                      <a:endParaRPr lang="en-US" altLang="zh-CN" sz="1400" b="0" i="0" u="none" strike="noStrike" dirty="0">
                        <a:solidFill>
                          <a:srgbClr val="000000"/>
                        </a:solidFill>
                        <a:effectLst/>
                        <a:latin typeface="Palatino" pitchFamily="2" charset="0"/>
                        <a:ea typeface="Palatino" pitchFamily="2" charset="0"/>
                      </a:endParaRPr>
                    </a:p>
                  </a:txBody>
                  <a:tcPr marL="5388" marR="5388" marT="538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2645790704"/>
                  </a:ext>
                </a:extLst>
              </a:tr>
              <a:tr h="457173">
                <a:tc>
                  <a:txBody>
                    <a:bodyPr/>
                    <a:lstStyle/>
                    <a:p>
                      <a:pPr algn="l" rtl="0" fontAlgn="ctr"/>
                      <a:r>
                        <a:rPr lang="en-US" altLang="zh-CN" sz="1400" u="none" strike="noStrike">
                          <a:effectLst/>
                          <a:latin typeface="Palatino" pitchFamily="2" charset="0"/>
                          <a:ea typeface="Palatino" pitchFamily="2" charset="0"/>
                        </a:rPr>
                        <a:t>4 </a:t>
                      </a:r>
                      <a:endParaRPr lang="en-US" altLang="zh-CN" sz="1400" b="0" i="0" u="none" strike="noStrike">
                        <a:solidFill>
                          <a:srgbClr val="000000"/>
                        </a:solidFill>
                        <a:effectLst/>
                        <a:latin typeface="Palatino" pitchFamily="2" charset="0"/>
                        <a:ea typeface="Palatino" pitchFamily="2" charset="0"/>
                      </a:endParaRPr>
                    </a:p>
                  </a:txBody>
                  <a:tcPr marL="5388" marR="5388" marT="538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en" sz="1400" u="none" strike="noStrike">
                          <a:effectLst/>
                          <a:latin typeface="Palatino" pitchFamily="2" charset="0"/>
                          <a:ea typeface="Palatino" pitchFamily="2" charset="0"/>
                        </a:rPr>
                        <a:t>Other assets</a:t>
                      </a:r>
                      <a:endParaRPr lang="en" sz="1400" b="0" i="0" u="none" strike="noStrike">
                        <a:solidFill>
                          <a:srgbClr val="000000"/>
                        </a:solidFill>
                        <a:effectLst/>
                        <a:latin typeface="Palatino" pitchFamily="2" charset="0"/>
                        <a:ea typeface="Palatino" pitchFamily="2" charset="0"/>
                      </a:endParaRPr>
                    </a:p>
                  </a:txBody>
                  <a:tcPr marL="5388" marR="5388" marT="538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ctr"/>
                      <a:r>
                        <a:rPr lang="en-US" altLang="zh-CN" sz="1400" u="none" strike="noStrike" dirty="0">
                          <a:effectLst/>
                          <a:latin typeface="Palatino" pitchFamily="2" charset="0"/>
                          <a:ea typeface="Palatino" pitchFamily="2" charset="0"/>
                        </a:rPr>
                        <a:t>1,310,519,405.69 </a:t>
                      </a:r>
                      <a:endParaRPr lang="en-US" altLang="zh-CN" sz="1400" b="0" i="0" u="none" strike="noStrike" dirty="0">
                        <a:solidFill>
                          <a:srgbClr val="000000"/>
                        </a:solidFill>
                        <a:effectLst/>
                        <a:latin typeface="Palatino" pitchFamily="2" charset="0"/>
                        <a:ea typeface="Palatino" pitchFamily="2" charset="0"/>
                      </a:endParaRPr>
                    </a:p>
                  </a:txBody>
                  <a:tcPr marL="5388" marR="5388" marT="538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ctr"/>
                      <a:r>
                        <a:rPr lang="en-US" altLang="zh-CN" sz="1400" u="none" strike="noStrike">
                          <a:effectLst/>
                          <a:latin typeface="Palatino" pitchFamily="2" charset="0"/>
                          <a:ea typeface="Palatino" pitchFamily="2" charset="0"/>
                        </a:rPr>
                        <a:t>0.23 </a:t>
                      </a:r>
                      <a:endParaRPr lang="en-US" altLang="zh-CN" sz="1400" b="0" i="0" u="none" strike="noStrike">
                        <a:solidFill>
                          <a:srgbClr val="000000"/>
                        </a:solidFill>
                        <a:effectLst/>
                        <a:latin typeface="Palatino" pitchFamily="2" charset="0"/>
                        <a:ea typeface="Palatino" pitchFamily="2" charset="0"/>
                      </a:endParaRPr>
                    </a:p>
                  </a:txBody>
                  <a:tcPr marL="5388" marR="5388" marT="538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73490666"/>
                  </a:ext>
                </a:extLst>
              </a:tr>
              <a:tr h="457173">
                <a:tc>
                  <a:txBody>
                    <a:bodyPr/>
                    <a:lstStyle/>
                    <a:p>
                      <a:pPr algn="l" rtl="0" fontAlgn="ctr"/>
                      <a:r>
                        <a:rPr lang="en-US" altLang="zh-CN" sz="1400" u="none" strike="noStrike">
                          <a:effectLst/>
                          <a:latin typeface="Palatino" pitchFamily="2" charset="0"/>
                          <a:ea typeface="Palatino" pitchFamily="2" charset="0"/>
                        </a:rPr>
                        <a:t>5 </a:t>
                      </a:r>
                      <a:endParaRPr lang="en-US" altLang="zh-CN" sz="1400" b="0" i="0" u="none" strike="noStrike">
                        <a:solidFill>
                          <a:srgbClr val="000000"/>
                        </a:solidFill>
                        <a:effectLst/>
                        <a:latin typeface="Palatino" pitchFamily="2" charset="0"/>
                        <a:ea typeface="Palatino" pitchFamily="2" charset="0"/>
                      </a:endParaRPr>
                    </a:p>
                  </a:txBody>
                  <a:tcPr marL="5388" marR="5388" marT="538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en" sz="1400" u="none" strike="noStrike" dirty="0">
                          <a:effectLst/>
                          <a:latin typeface="Palatino" pitchFamily="2" charset="0"/>
                          <a:ea typeface="Palatino" pitchFamily="2" charset="0"/>
                        </a:rPr>
                        <a:t>In total</a:t>
                      </a:r>
                      <a:endParaRPr lang="en" sz="1400" b="0" i="0" u="none" strike="noStrike" dirty="0">
                        <a:solidFill>
                          <a:srgbClr val="000000"/>
                        </a:solidFill>
                        <a:effectLst/>
                        <a:latin typeface="Palatino" pitchFamily="2" charset="0"/>
                        <a:ea typeface="Palatino" pitchFamily="2" charset="0"/>
                      </a:endParaRPr>
                    </a:p>
                  </a:txBody>
                  <a:tcPr marL="5388" marR="5388" marT="538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ctr"/>
                      <a:r>
                        <a:rPr lang="en-US" altLang="zh-CN" sz="1400" u="none" strike="noStrike" dirty="0">
                          <a:effectLst/>
                          <a:latin typeface="Palatino" pitchFamily="2" charset="0"/>
                          <a:ea typeface="Palatino" pitchFamily="2" charset="0"/>
                        </a:rPr>
                        <a:t>579,239,620,742.81 </a:t>
                      </a:r>
                      <a:endParaRPr lang="en-US" altLang="zh-CN" sz="1400" b="0" i="0" u="none" strike="noStrike" dirty="0">
                        <a:solidFill>
                          <a:srgbClr val="000000"/>
                        </a:solidFill>
                        <a:effectLst/>
                        <a:latin typeface="Palatino" pitchFamily="2" charset="0"/>
                        <a:ea typeface="Palatino" pitchFamily="2" charset="0"/>
                      </a:endParaRPr>
                    </a:p>
                  </a:txBody>
                  <a:tcPr marL="5388" marR="5388" marT="538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ctr"/>
                      <a:r>
                        <a:rPr lang="en-US" altLang="zh-CN" sz="1400" u="none" strike="noStrike" dirty="0">
                          <a:effectLst/>
                          <a:latin typeface="Palatino" pitchFamily="2" charset="0"/>
                          <a:ea typeface="Palatino" pitchFamily="2" charset="0"/>
                        </a:rPr>
                        <a:t>100.00 </a:t>
                      </a:r>
                      <a:endParaRPr lang="en-US" altLang="zh-CN" sz="1400" b="0" i="0" u="none" strike="noStrike" dirty="0">
                        <a:solidFill>
                          <a:srgbClr val="000000"/>
                        </a:solidFill>
                        <a:effectLst/>
                        <a:latin typeface="Palatino" pitchFamily="2" charset="0"/>
                        <a:ea typeface="Palatino" pitchFamily="2" charset="0"/>
                      </a:endParaRPr>
                    </a:p>
                  </a:txBody>
                  <a:tcPr marL="5388" marR="5388" marT="538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29214501"/>
                  </a:ext>
                </a:extLst>
              </a:tr>
            </a:tbl>
          </a:graphicData>
        </a:graphic>
      </p:graphicFrame>
      <p:sp>
        <p:nvSpPr>
          <p:cNvPr id="8" name="文本框 7">
            <a:extLst>
              <a:ext uri="{FF2B5EF4-FFF2-40B4-BE49-F238E27FC236}">
                <a16:creationId xmlns:a16="http://schemas.microsoft.com/office/drawing/2014/main" id="{6BE1A812-B129-864F-A7D5-643C413F69CD}"/>
              </a:ext>
            </a:extLst>
          </p:cNvPr>
          <p:cNvSpPr txBox="1"/>
          <p:nvPr/>
        </p:nvSpPr>
        <p:spPr>
          <a:xfrm>
            <a:off x="264840" y="6598146"/>
            <a:ext cx="2923170" cy="199285"/>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kumimoji="1" lang="en-US" altLang="zh-CN" sz="1400" dirty="0">
                <a:latin typeface="Palatino" pitchFamily="2" charset="0"/>
                <a:ea typeface="Palatino" pitchFamily="2" charset="0"/>
                <a:cs typeface="Arial" pitchFamily="34" charset="0"/>
              </a:rPr>
              <a:t>Source:</a:t>
            </a:r>
            <a:r>
              <a:rPr kumimoji="1" lang="zh-CN" altLang="en-US" sz="1400" dirty="0">
                <a:latin typeface="Palatino" pitchFamily="2" charset="0"/>
                <a:ea typeface="Palatino" pitchFamily="2" charset="0"/>
                <a:cs typeface="Arial" pitchFamily="34" charset="0"/>
              </a:rPr>
              <a:t> </a:t>
            </a:r>
            <a:r>
              <a:rPr kumimoji="1" lang="en-US" altLang="zh-CN" sz="1400" dirty="0">
                <a:latin typeface="Palatino" pitchFamily="2" charset="0"/>
                <a:ea typeface="Palatino" pitchFamily="2" charset="0"/>
                <a:cs typeface="Arial" pitchFamily="34" charset="0"/>
              </a:rPr>
              <a:t>the</a:t>
            </a:r>
            <a:r>
              <a:rPr kumimoji="1" lang="zh-CN" altLang="en-US" sz="1400" dirty="0">
                <a:latin typeface="Palatino" pitchFamily="2" charset="0"/>
                <a:ea typeface="Palatino" pitchFamily="2" charset="0"/>
                <a:cs typeface="Arial" pitchFamily="34" charset="0"/>
              </a:rPr>
              <a:t> </a:t>
            </a:r>
            <a:r>
              <a:rPr kumimoji="1" lang="en-US" altLang="zh-CN" sz="1400" dirty="0">
                <a:latin typeface="Palatino" pitchFamily="2" charset="0"/>
                <a:ea typeface="Palatino" pitchFamily="2" charset="0"/>
                <a:cs typeface="Arial" pitchFamily="34" charset="0"/>
              </a:rPr>
              <a:t>annual</a:t>
            </a:r>
            <a:r>
              <a:rPr kumimoji="1" lang="zh-CN" altLang="en-US" sz="1400" dirty="0">
                <a:latin typeface="Palatino" pitchFamily="2" charset="0"/>
                <a:ea typeface="Palatino" pitchFamily="2" charset="0"/>
                <a:cs typeface="Arial" pitchFamily="34" charset="0"/>
              </a:rPr>
              <a:t> </a:t>
            </a:r>
            <a:r>
              <a:rPr kumimoji="1" lang="en-US" altLang="zh-CN" sz="1400" dirty="0">
                <a:latin typeface="Palatino" pitchFamily="2" charset="0"/>
                <a:ea typeface="Palatino" pitchFamily="2" charset="0"/>
                <a:cs typeface="Arial" pitchFamily="34" charset="0"/>
              </a:rPr>
              <a:t>report</a:t>
            </a:r>
            <a:r>
              <a:rPr kumimoji="1" lang="zh-CN" altLang="en-US" sz="1400" dirty="0">
                <a:latin typeface="Palatino" pitchFamily="2" charset="0"/>
                <a:ea typeface="Palatino" pitchFamily="2" charset="0"/>
                <a:cs typeface="Arial" pitchFamily="34" charset="0"/>
              </a:rPr>
              <a:t> </a:t>
            </a:r>
            <a:r>
              <a:rPr kumimoji="1" lang="en-US" altLang="zh-CN" sz="1400" dirty="0">
                <a:latin typeface="Palatino" pitchFamily="2" charset="0"/>
                <a:ea typeface="Palatino" pitchFamily="2" charset="0"/>
                <a:cs typeface="Arial" pitchFamily="34" charset="0"/>
              </a:rPr>
              <a:t>in</a:t>
            </a:r>
            <a:r>
              <a:rPr kumimoji="1" lang="zh-CN" altLang="en-US" sz="1400" dirty="0">
                <a:latin typeface="Palatino" pitchFamily="2" charset="0"/>
                <a:ea typeface="Palatino" pitchFamily="2" charset="0"/>
                <a:cs typeface="Arial" pitchFamily="34" charset="0"/>
              </a:rPr>
              <a:t> </a:t>
            </a:r>
            <a:r>
              <a:rPr kumimoji="1" lang="en-US" altLang="zh-CN" sz="1400" dirty="0">
                <a:latin typeface="Palatino" pitchFamily="2" charset="0"/>
                <a:ea typeface="Palatino" pitchFamily="2" charset="0"/>
                <a:cs typeface="Arial" pitchFamily="34" charset="0"/>
              </a:rPr>
              <a:t>2014</a:t>
            </a:r>
            <a:endParaRPr kumimoji="1" lang="zh-CN" altLang="en-US" sz="1400" dirty="0">
              <a:latin typeface="Palatino" pitchFamily="2" charset="0"/>
              <a:ea typeface="Palatino" pitchFamily="2" charset="0"/>
              <a:cs typeface="Arial" pitchFamily="34" charset="0"/>
            </a:endParaRPr>
          </a:p>
        </p:txBody>
      </p:sp>
    </p:spTree>
    <p:extLst>
      <p:ext uri="{BB962C8B-B14F-4D97-AF65-F5344CB8AC3E}">
        <p14:creationId xmlns:p14="http://schemas.microsoft.com/office/powerpoint/2010/main" val="2709836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en" altLang="zh-CN" sz="2800" dirty="0">
                <a:latin typeface="Palatino" pitchFamily="2" charset="0"/>
                <a:cs typeface="Times New Roman" panose="02020603050405020304" pitchFamily="18" charset="0"/>
              </a:rPr>
              <a:t>Balance of Margin Trading &amp; Securities Lending</a:t>
            </a:r>
            <a:endParaRPr lang="en-US" dirty="0"/>
          </a:p>
        </p:txBody>
      </p:sp>
      <p:sp>
        <p:nvSpPr>
          <p:cNvPr id="3" name="Text Placeholder 5"/>
          <p:cNvSpPr txBox="1">
            <a:spLocks/>
          </p:cNvSpPr>
          <p:nvPr/>
        </p:nvSpPr>
        <p:spPr>
          <a:xfrm>
            <a:off x="264840" y="1160463"/>
            <a:ext cx="9403035" cy="5149850"/>
          </a:xfrm>
          <a:prstGeom prst="rect">
            <a:avLst/>
          </a:prstGeom>
        </p:spPr>
        <p:txBody>
          <a:bodyPr/>
          <a:lstStyle>
            <a:lvl1pPr marL="188568" indent="-188568" algn="l" defTabSz="957925" rtl="0" eaLnBrk="1" latinLnBrk="0" hangingPunct="1">
              <a:lnSpc>
                <a:spcPct val="90000"/>
              </a:lnSpc>
              <a:spcBef>
                <a:spcPts val="1467"/>
              </a:spcBef>
              <a:buClr>
                <a:schemeClr val="bg2"/>
              </a:buClr>
              <a:buSzPct val="100000"/>
              <a:buFont typeface="Arial" pitchFamily="34" charset="0"/>
              <a:buChar char="■"/>
              <a:defRPr sz="1700" kern="1200">
                <a:solidFill>
                  <a:schemeClr val="tx1"/>
                </a:solidFill>
                <a:latin typeface="Palatino Linotype" panose="02040502050505030304" pitchFamily="18" charset="0"/>
                <a:ea typeface="+mn-ea"/>
                <a:cs typeface="Arial" pitchFamily="34" charset="0"/>
              </a:defRPr>
            </a:lvl1pPr>
            <a:lvl2pPr marL="325695" indent="-134110" algn="l" defTabSz="957925" rtl="0" eaLnBrk="1" latinLnBrk="0" hangingPunct="1">
              <a:lnSpc>
                <a:spcPct val="90000"/>
              </a:lnSpc>
              <a:spcBef>
                <a:spcPts val="943"/>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2pPr>
            <a:lvl3pPr marL="512905" indent="-188568" algn="l" defTabSz="957925" rtl="0" eaLnBrk="1" latinLnBrk="0" hangingPunct="1">
              <a:lnSpc>
                <a:spcPct val="90000"/>
              </a:lnSpc>
              <a:spcBef>
                <a:spcPts val="629"/>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3pPr>
            <a:lvl4pPr marL="663759" indent="-143689" algn="l" defTabSz="957925" rtl="0" eaLnBrk="1" latinLnBrk="0" hangingPunct="1">
              <a:lnSpc>
                <a:spcPct val="90000"/>
              </a:lnSpc>
              <a:spcBef>
                <a:spcPts val="210"/>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4pPr>
            <a:lvl5pPr marL="807071" indent="-143312" algn="l" defTabSz="957925" rtl="0" eaLnBrk="1" latinLnBrk="0" hangingPunct="1">
              <a:lnSpc>
                <a:spcPct val="90000"/>
              </a:lnSpc>
              <a:spcBef>
                <a:spcPts val="105"/>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5pPr>
            <a:lvl6pPr marL="2634295"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3258"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2220"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1183"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buNone/>
            </a:pPr>
            <a:endParaRPr lang="en-US" sz="1600" dirty="0"/>
          </a:p>
        </p:txBody>
      </p:sp>
      <p:sp>
        <p:nvSpPr>
          <p:cNvPr id="4" name="文本框 3">
            <a:extLst>
              <a:ext uri="{FF2B5EF4-FFF2-40B4-BE49-F238E27FC236}">
                <a16:creationId xmlns:a16="http://schemas.microsoft.com/office/drawing/2014/main" id="{7C5B8755-FE97-754D-BD25-1C2C334888AD}"/>
              </a:ext>
            </a:extLst>
          </p:cNvPr>
          <p:cNvSpPr txBox="1"/>
          <p:nvPr/>
        </p:nvSpPr>
        <p:spPr>
          <a:xfrm>
            <a:off x="5644008" y="2158865"/>
            <a:ext cx="3843323" cy="4062266"/>
          </a:xfrm>
          <a:prstGeom prst="rect">
            <a:avLst/>
          </a:prstGeom>
          <a:noFill/>
          <a:ln w="6350" cap="flat">
            <a:noFill/>
            <a:miter lim="800000"/>
          </a:ln>
        </p:spPr>
        <p:txBody>
          <a:bodyPr wrap="square" lIns="0" tIns="0" rIns="0" bIns="0" rtlCol="0" anchor="t" anchorCtr="0">
            <a:spAutoFit/>
          </a:bodyPr>
          <a:lstStyle/>
          <a:p>
            <a:pPr marL="285750" indent="-285750">
              <a:lnSpc>
                <a:spcPct val="90000"/>
              </a:lnSpc>
              <a:spcBef>
                <a:spcPts val="600"/>
              </a:spcBef>
              <a:buClr>
                <a:schemeClr val="bg2"/>
              </a:buClr>
              <a:buFont typeface="Wingdings" pitchFamily="2" charset="2"/>
              <a:buChar char="ü"/>
            </a:pPr>
            <a:r>
              <a:rPr kumimoji="1" lang="en" altLang="zh-CN" sz="2300" dirty="0">
                <a:latin typeface="Palatino" pitchFamily="2" charset="0"/>
                <a:cs typeface="Times New Roman" panose="02020603050405020304" pitchFamily="18" charset="0"/>
              </a:rPr>
              <a:t>Monetary Fund ←</a:t>
            </a:r>
            <a:r>
              <a:rPr kumimoji="1" lang="zh-CN" altLang="en-US" sz="2300" dirty="0">
                <a:latin typeface="Palatino" pitchFamily="2" charset="0"/>
                <a:cs typeface="Times New Roman" panose="02020603050405020304" pitchFamily="18" charset="0"/>
              </a:rPr>
              <a:t> </a:t>
            </a:r>
            <a:r>
              <a:rPr kumimoji="1" lang="en-US" altLang="zh-CN" sz="2300" dirty="0">
                <a:latin typeface="Palatino" pitchFamily="2" charset="0"/>
                <a:cs typeface="Times New Roman" panose="02020603050405020304" pitchFamily="18" charset="0"/>
              </a:rPr>
              <a:t>F</a:t>
            </a:r>
            <a:r>
              <a:rPr kumimoji="1" lang="en" altLang="zh-CN" sz="2300" dirty="0" err="1">
                <a:latin typeface="Palatino" pitchFamily="2" charset="0"/>
                <a:cs typeface="Times New Roman" panose="02020603050405020304" pitchFamily="18" charset="0"/>
              </a:rPr>
              <a:t>luctuation</a:t>
            </a:r>
            <a:r>
              <a:rPr kumimoji="1" lang="en" altLang="zh-CN" sz="2300" dirty="0">
                <a:latin typeface="Palatino" pitchFamily="2" charset="0"/>
                <a:cs typeface="Times New Roman" panose="02020603050405020304" pitchFamily="18" charset="0"/>
              </a:rPr>
              <a:t> of financial market capital </a:t>
            </a:r>
          </a:p>
          <a:p>
            <a:pPr marL="285750" indent="-285750">
              <a:lnSpc>
                <a:spcPct val="90000"/>
              </a:lnSpc>
              <a:spcBef>
                <a:spcPts val="600"/>
              </a:spcBef>
              <a:buClr>
                <a:schemeClr val="bg2"/>
              </a:buClr>
              <a:buFont typeface="Wingdings" pitchFamily="2" charset="2"/>
              <a:buChar char="ü"/>
            </a:pPr>
            <a:r>
              <a:rPr kumimoji="1" lang="en" altLang="zh-CN" sz="2300" dirty="0">
                <a:latin typeface="Palatino" pitchFamily="2" charset="0"/>
                <a:cs typeface="Times New Roman" panose="02020603050405020304" pitchFamily="18" charset="0"/>
              </a:rPr>
              <a:t>After the re</a:t>
            </a:r>
            <a:r>
              <a:rPr kumimoji="1" lang="en-US" altLang="zh-CN" sz="2300" dirty="0">
                <a:latin typeface="Palatino" pitchFamily="2" charset="0"/>
                <a:cs typeface="Times New Roman" panose="02020603050405020304" pitchFamily="18" charset="0"/>
              </a:rPr>
              <a:t>form</a:t>
            </a:r>
            <a:r>
              <a:rPr kumimoji="1" lang="en" altLang="zh-CN" sz="2300" dirty="0">
                <a:latin typeface="Palatino" pitchFamily="2" charset="0"/>
                <a:cs typeface="Times New Roman" panose="02020603050405020304" pitchFamily="18" charset="0"/>
              </a:rPr>
              <a:t> of new shares issued in June 2014</a:t>
            </a:r>
          </a:p>
          <a:p>
            <a:pPr marL="821863" lvl="1" indent="-342900">
              <a:lnSpc>
                <a:spcPct val="90000"/>
              </a:lnSpc>
              <a:spcBef>
                <a:spcPts val="600"/>
              </a:spcBef>
              <a:buClr>
                <a:schemeClr val="bg2"/>
              </a:buClr>
              <a:buFont typeface="Wingdings" pitchFamily="2" charset="2"/>
              <a:buChar char="Ø"/>
            </a:pPr>
            <a:r>
              <a:rPr kumimoji="1" lang="en" altLang="zh-CN" sz="2300" dirty="0">
                <a:latin typeface="Palatino" pitchFamily="2" charset="0"/>
                <a:cs typeface="Times New Roman" panose="02020603050405020304" pitchFamily="18" charset="0"/>
              </a:rPr>
              <a:t>A</a:t>
            </a:r>
            <a:r>
              <a:rPr kumimoji="1" lang="zh-CN" altLang="en-US" sz="2300" dirty="0">
                <a:latin typeface="Palatino" pitchFamily="2" charset="0"/>
                <a:cs typeface="Times New Roman" panose="02020603050405020304" pitchFamily="18" charset="0"/>
              </a:rPr>
              <a:t> </a:t>
            </a:r>
            <a:r>
              <a:rPr kumimoji="1" lang="en" altLang="zh-CN" sz="2300" dirty="0">
                <a:latin typeface="Palatino" pitchFamily="2" charset="0"/>
                <a:cs typeface="Times New Roman" panose="02020603050405020304" pitchFamily="18" charset="0"/>
              </a:rPr>
              <a:t>strong influence on the monetary fund both in the short term </a:t>
            </a:r>
            <a:r>
              <a:rPr kumimoji="1" lang="en-US" altLang="zh-CN" sz="2300" dirty="0">
                <a:latin typeface="Palatino" pitchFamily="2" charset="0"/>
                <a:cs typeface="Times New Roman" panose="02020603050405020304" pitchFamily="18" charset="0"/>
              </a:rPr>
              <a:t>&amp;</a:t>
            </a:r>
            <a:r>
              <a:rPr kumimoji="1" lang="en" altLang="zh-CN" sz="2300" dirty="0">
                <a:latin typeface="Palatino" pitchFamily="2" charset="0"/>
                <a:cs typeface="Times New Roman" panose="02020603050405020304" pitchFamily="18" charset="0"/>
              </a:rPr>
              <a:t> the long term</a:t>
            </a:r>
          </a:p>
          <a:p>
            <a:pPr marL="285750" indent="-285750">
              <a:lnSpc>
                <a:spcPct val="90000"/>
              </a:lnSpc>
              <a:spcBef>
                <a:spcPts val="600"/>
              </a:spcBef>
              <a:buClr>
                <a:schemeClr val="bg2"/>
              </a:buClr>
              <a:buFont typeface="Wingdings" pitchFamily="2" charset="2"/>
              <a:buChar char="Ø"/>
            </a:pPr>
            <a:r>
              <a:rPr kumimoji="1" lang="en-US" altLang="zh-CN" sz="2300" dirty="0">
                <a:latin typeface="Palatino" pitchFamily="2" charset="0"/>
                <a:cs typeface="Times New Roman" panose="02020603050405020304" pitchFamily="18" charset="0"/>
              </a:rPr>
              <a:t>√</a:t>
            </a:r>
            <a:r>
              <a:rPr kumimoji="1" lang="zh-CN" altLang="en-US" sz="2300" dirty="0">
                <a:latin typeface="Palatino" pitchFamily="2" charset="0"/>
                <a:cs typeface="Times New Roman" panose="02020603050405020304" pitchFamily="18" charset="0"/>
              </a:rPr>
              <a:t> </a:t>
            </a:r>
            <a:r>
              <a:rPr kumimoji="1" lang="en" altLang="zh-CN" sz="2300" dirty="0">
                <a:latin typeface="Palatino" pitchFamily="2" charset="0"/>
                <a:cs typeface="Times New Roman" panose="02020603050405020304" pitchFamily="18" charset="0"/>
              </a:rPr>
              <a:t>Balance of Margin Trading &amp; Securities Lending</a:t>
            </a:r>
            <a:endParaRPr kumimoji="1" lang="zh-CN" altLang="en-US" sz="2300" dirty="0">
              <a:latin typeface="Palatino" pitchFamily="2" charset="0"/>
              <a:cs typeface="Times New Roman" panose="02020603050405020304" pitchFamily="18" charset="0"/>
            </a:endParaRPr>
          </a:p>
        </p:txBody>
      </p:sp>
      <p:pic>
        <p:nvPicPr>
          <p:cNvPr id="14" name="图片 13">
            <a:extLst>
              <a:ext uri="{FF2B5EF4-FFF2-40B4-BE49-F238E27FC236}">
                <a16:creationId xmlns:a16="http://schemas.microsoft.com/office/drawing/2014/main" id="{2B659AE1-F933-7E43-9357-82DDBCA57E6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7730" y="1881622"/>
            <a:ext cx="4813389" cy="3924505"/>
          </a:xfrm>
          <a:prstGeom prst="rect">
            <a:avLst/>
          </a:prstGeom>
        </p:spPr>
      </p:pic>
      <p:sp>
        <p:nvSpPr>
          <p:cNvPr id="6" name="Text Placeholder 5">
            <a:extLst>
              <a:ext uri="{FF2B5EF4-FFF2-40B4-BE49-F238E27FC236}">
                <a16:creationId xmlns:a16="http://schemas.microsoft.com/office/drawing/2014/main" id="{15239821-A19D-D04A-B64A-FBCE444DBE64}"/>
              </a:ext>
            </a:extLst>
          </p:cNvPr>
          <p:cNvSpPr txBox="1">
            <a:spLocks/>
          </p:cNvSpPr>
          <p:nvPr/>
        </p:nvSpPr>
        <p:spPr>
          <a:xfrm>
            <a:off x="5492266" y="1959634"/>
            <a:ext cx="3995067" cy="4242468"/>
          </a:xfrm>
          <a:prstGeom prst="rect">
            <a:avLst/>
          </a:prstGeom>
          <a:ln w="12700">
            <a:solidFill>
              <a:schemeClr val="bg2"/>
            </a:solidFill>
          </a:ln>
        </p:spPr>
        <p:txBody>
          <a:bodyPr wrap="square" lIns="3600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endParaRPr lang="en-US" sz="1800" dirty="0">
              <a:solidFill>
                <a:schemeClr val="tx1"/>
              </a:solidFill>
              <a:latin typeface="Palatino Linotype" panose="02040502050505030304" pitchFamily="18" charset="0"/>
            </a:endParaRPr>
          </a:p>
          <a:p>
            <a:endParaRPr lang="en-US" sz="1800" dirty="0">
              <a:solidFill>
                <a:schemeClr val="tx1"/>
              </a:solidFill>
              <a:latin typeface="Palatino Linotype" panose="02040502050505030304" pitchFamily="18" charset="0"/>
            </a:endParaRPr>
          </a:p>
        </p:txBody>
      </p:sp>
      <p:sp>
        <p:nvSpPr>
          <p:cNvPr id="7" name="Text Box 10">
            <a:extLst>
              <a:ext uri="{FF2B5EF4-FFF2-40B4-BE49-F238E27FC236}">
                <a16:creationId xmlns:a16="http://schemas.microsoft.com/office/drawing/2014/main" id="{8AF693F6-BBC7-DB4C-B716-CFBC4F3C9F92}"/>
              </a:ext>
            </a:extLst>
          </p:cNvPr>
          <p:cNvSpPr txBox="1">
            <a:spLocks noChangeArrowheads="1"/>
          </p:cNvSpPr>
          <p:nvPr>
            <p:custDataLst>
              <p:tags r:id="rId1"/>
            </p:custDataLst>
          </p:nvPr>
        </p:nvSpPr>
        <p:spPr bwMode="auto">
          <a:xfrm>
            <a:off x="5492266" y="1708378"/>
            <a:ext cx="3995066" cy="249678"/>
          </a:xfrm>
          <a:prstGeom prst="rect">
            <a:avLst/>
          </a:prstGeom>
          <a:solidFill>
            <a:schemeClr val="bg2"/>
          </a:solidFill>
          <a:ln w="12700" algn="ctr">
            <a:solidFill>
              <a:schemeClr val="bg2"/>
            </a:solidFill>
            <a:miter lim="800000"/>
            <a:headEnd/>
            <a:tailEnd type="none" w="sm" len="med"/>
          </a:ln>
        </p:spPr>
        <p:txBody>
          <a:bodyPr lIns="36000" tIns="36000" rIns="36000" bIns="36000" anchor="ctr" anchorCtr="1"/>
          <a:lstStyle/>
          <a:p>
            <a:pPr algn="ctr" defTabSz="957263"/>
            <a:endParaRPr lang="en-US" sz="1400" b="1" dirty="0">
              <a:solidFill>
                <a:schemeClr val="bg1"/>
              </a:solidFill>
              <a:latin typeface="Palatino Linotype" panose="02040502050505030304" pitchFamily="18" charset="0"/>
            </a:endParaRPr>
          </a:p>
        </p:txBody>
      </p:sp>
    </p:spTree>
    <p:extLst>
      <p:ext uri="{BB962C8B-B14F-4D97-AF65-F5344CB8AC3E}">
        <p14:creationId xmlns:p14="http://schemas.microsoft.com/office/powerpoint/2010/main" val="35476710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dirty="0"/>
              <a:t>Time series analysis</a:t>
            </a:r>
          </a:p>
        </p:txBody>
      </p:sp>
      <p:sp>
        <p:nvSpPr>
          <p:cNvPr id="3" name="Text Placeholder 5"/>
          <p:cNvSpPr txBox="1">
            <a:spLocks/>
          </p:cNvSpPr>
          <p:nvPr/>
        </p:nvSpPr>
        <p:spPr>
          <a:xfrm>
            <a:off x="264840" y="1160463"/>
            <a:ext cx="9403035" cy="5149850"/>
          </a:xfrm>
          <a:prstGeom prst="rect">
            <a:avLst/>
          </a:prstGeom>
        </p:spPr>
        <p:txBody>
          <a:bodyPr/>
          <a:lstStyle>
            <a:lvl1pPr marL="188568" indent="-188568" algn="l" defTabSz="957925" rtl="0" eaLnBrk="1" latinLnBrk="0" hangingPunct="1">
              <a:lnSpc>
                <a:spcPct val="90000"/>
              </a:lnSpc>
              <a:spcBef>
                <a:spcPts val="1467"/>
              </a:spcBef>
              <a:buClr>
                <a:schemeClr val="bg2"/>
              </a:buClr>
              <a:buSzPct val="100000"/>
              <a:buFont typeface="Arial" pitchFamily="34" charset="0"/>
              <a:buChar char="■"/>
              <a:defRPr sz="1700" kern="1200">
                <a:solidFill>
                  <a:schemeClr val="tx1"/>
                </a:solidFill>
                <a:latin typeface="Palatino Linotype" panose="02040502050505030304" pitchFamily="18" charset="0"/>
                <a:ea typeface="+mn-ea"/>
                <a:cs typeface="Arial" pitchFamily="34" charset="0"/>
              </a:defRPr>
            </a:lvl1pPr>
            <a:lvl2pPr marL="325695" indent="-134110" algn="l" defTabSz="957925" rtl="0" eaLnBrk="1" latinLnBrk="0" hangingPunct="1">
              <a:lnSpc>
                <a:spcPct val="90000"/>
              </a:lnSpc>
              <a:spcBef>
                <a:spcPts val="943"/>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2pPr>
            <a:lvl3pPr marL="512905" indent="-188568" algn="l" defTabSz="957925" rtl="0" eaLnBrk="1" latinLnBrk="0" hangingPunct="1">
              <a:lnSpc>
                <a:spcPct val="90000"/>
              </a:lnSpc>
              <a:spcBef>
                <a:spcPts val="629"/>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3pPr>
            <a:lvl4pPr marL="663759" indent="-143689" algn="l" defTabSz="957925" rtl="0" eaLnBrk="1" latinLnBrk="0" hangingPunct="1">
              <a:lnSpc>
                <a:spcPct val="90000"/>
              </a:lnSpc>
              <a:spcBef>
                <a:spcPts val="210"/>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4pPr>
            <a:lvl5pPr marL="807071" indent="-143312" algn="l" defTabSz="957925" rtl="0" eaLnBrk="1" latinLnBrk="0" hangingPunct="1">
              <a:lnSpc>
                <a:spcPct val="90000"/>
              </a:lnSpc>
              <a:spcBef>
                <a:spcPts val="105"/>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5pPr>
            <a:lvl6pPr marL="2634295"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3258"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2220"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1183"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buNone/>
            </a:pPr>
            <a:endParaRPr lang="en-US" sz="1600" dirty="0"/>
          </a:p>
        </p:txBody>
      </p:sp>
      <p:sp>
        <p:nvSpPr>
          <p:cNvPr id="18" name="Text Box 10">
            <a:extLst>
              <a:ext uri="{FF2B5EF4-FFF2-40B4-BE49-F238E27FC236}">
                <a16:creationId xmlns:a16="http://schemas.microsoft.com/office/drawing/2014/main" id="{46D468AC-300C-304C-A3D8-53F6E4F8F134}"/>
              </a:ext>
            </a:extLst>
          </p:cNvPr>
          <p:cNvSpPr txBox="1">
            <a:spLocks noChangeArrowheads="1"/>
          </p:cNvSpPr>
          <p:nvPr>
            <p:custDataLst>
              <p:tags r:id="rId1"/>
            </p:custDataLst>
          </p:nvPr>
        </p:nvSpPr>
        <p:spPr bwMode="auto">
          <a:xfrm>
            <a:off x="127670" y="4265926"/>
            <a:ext cx="9403033" cy="261469"/>
          </a:xfrm>
          <a:prstGeom prst="rect">
            <a:avLst/>
          </a:prstGeom>
          <a:solidFill>
            <a:schemeClr val="bg2"/>
          </a:solidFill>
          <a:ln w="12700" algn="ctr">
            <a:solidFill>
              <a:schemeClr val="bg2"/>
            </a:solidFill>
            <a:miter lim="800000"/>
            <a:headEnd/>
            <a:tailEnd type="none" w="sm" len="med"/>
          </a:ln>
        </p:spPr>
        <p:txBody>
          <a:bodyPr lIns="36000" tIns="36000" rIns="36000" bIns="36000" anchor="ctr" anchorCtr="1"/>
          <a:lstStyle/>
          <a:p>
            <a:pPr algn="ctr" defTabSz="957263"/>
            <a:endParaRPr lang="en-US" sz="1400" b="1" dirty="0">
              <a:solidFill>
                <a:schemeClr val="bg1"/>
              </a:solidFill>
              <a:latin typeface="Palatino Linotype" panose="02040502050505030304" pitchFamily="18" charset="0"/>
            </a:endParaRPr>
          </a:p>
        </p:txBody>
      </p:sp>
      <p:sp>
        <p:nvSpPr>
          <p:cNvPr id="19" name="Text Placeholder 5">
            <a:extLst>
              <a:ext uri="{FF2B5EF4-FFF2-40B4-BE49-F238E27FC236}">
                <a16:creationId xmlns:a16="http://schemas.microsoft.com/office/drawing/2014/main" id="{729F7A33-DE26-7F44-BC2F-DB9D236E37A2}"/>
              </a:ext>
            </a:extLst>
          </p:cNvPr>
          <p:cNvSpPr txBox="1">
            <a:spLocks/>
          </p:cNvSpPr>
          <p:nvPr/>
        </p:nvSpPr>
        <p:spPr>
          <a:xfrm>
            <a:off x="127670" y="4515607"/>
            <a:ext cx="9403034" cy="2190551"/>
          </a:xfrm>
          <a:prstGeom prst="rect">
            <a:avLst/>
          </a:prstGeom>
          <a:ln w="12700">
            <a:solidFill>
              <a:schemeClr val="bg2"/>
            </a:solidFill>
          </a:ln>
        </p:spPr>
        <p:txBody>
          <a:bodyPr wrap="square" lIns="3600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342900" indent="-342900">
              <a:buClr>
                <a:srgbClr val="8E2929"/>
              </a:buClr>
              <a:buFont typeface="Wingdings" pitchFamily="2" charset="2"/>
              <a:buChar char="ü"/>
            </a:pPr>
            <a:r>
              <a:rPr lang="en-US" sz="2400" dirty="0">
                <a:solidFill>
                  <a:schemeClr val="tx1"/>
                </a:solidFill>
                <a:latin typeface="Palatino Linotype" panose="02040502050505030304" pitchFamily="18" charset="0"/>
              </a:rPr>
              <a:t>Obvious periodicity on a seven-day basis</a:t>
            </a:r>
          </a:p>
          <a:p>
            <a:pPr marL="342900" indent="-342900">
              <a:buClr>
                <a:srgbClr val="8E2929"/>
              </a:buClr>
              <a:buFont typeface="Wingdings" pitchFamily="2" charset="2"/>
              <a:buChar char="ü"/>
            </a:pPr>
            <a:r>
              <a:rPr lang="en-US" altLang="zh-CN" sz="2400" dirty="0">
                <a:solidFill>
                  <a:schemeClr val="tx1"/>
                </a:solidFill>
                <a:latin typeface="Palatino Linotype" panose="02040502050505030304" pitchFamily="18" charset="0"/>
              </a:rPr>
              <a:t>T</a:t>
            </a:r>
            <a:r>
              <a:rPr lang="en-US" sz="2400" dirty="0">
                <a:solidFill>
                  <a:schemeClr val="tx1"/>
                </a:solidFill>
                <a:latin typeface="Palatino Linotype" panose="02040502050505030304" pitchFamily="18" charset="0"/>
              </a:rPr>
              <a:t>rend</a:t>
            </a:r>
            <a:r>
              <a:rPr lang="en-US" altLang="zh-CN" sz="2400" dirty="0">
                <a:solidFill>
                  <a:schemeClr val="tx1"/>
                </a:solidFill>
                <a:latin typeface="Palatino Linotype" panose="02040502050505030304" pitchFamily="18" charset="0"/>
              </a:rPr>
              <a:t>:</a:t>
            </a:r>
            <a:r>
              <a:rPr lang="en-US" sz="2400" dirty="0">
                <a:solidFill>
                  <a:schemeClr val="tx1"/>
                </a:solidFill>
                <a:latin typeface="Palatino Linotype" panose="02040502050505030304" pitchFamily="18" charset="0"/>
              </a:rPr>
              <a:t> </a:t>
            </a:r>
          </a:p>
          <a:p>
            <a:pPr marL="522900" lvl="1" indent="-342900">
              <a:buClr>
                <a:srgbClr val="8E2929"/>
              </a:buClr>
              <a:buFont typeface="Wingdings" pitchFamily="2" charset="2"/>
              <a:buChar char="Ø"/>
            </a:pPr>
            <a:r>
              <a:rPr lang="en-US" altLang="zh-CN" sz="2400" dirty="0">
                <a:solidFill>
                  <a:schemeClr val="tx1"/>
                </a:solidFill>
                <a:latin typeface="Palatino Linotype" panose="02040502050505030304" pitchFamily="18" charset="0"/>
              </a:rPr>
              <a:t>July 2013 to Nov. 2013:</a:t>
            </a:r>
            <a:r>
              <a:rPr lang="zh-CN" altLang="en-US" sz="2400" dirty="0">
                <a:solidFill>
                  <a:schemeClr val="tx1"/>
                </a:solidFill>
                <a:latin typeface="Palatino Linotype" panose="02040502050505030304" pitchFamily="18" charset="0"/>
              </a:rPr>
              <a:t> </a:t>
            </a:r>
            <a:r>
              <a:rPr lang="en-US" sz="2400" dirty="0">
                <a:solidFill>
                  <a:schemeClr val="tx1"/>
                </a:solidFill>
                <a:latin typeface="Palatino Linotype" panose="02040502050505030304" pitchFamily="18" charset="0"/>
              </a:rPr>
              <a:t>relatively low </a:t>
            </a:r>
          </a:p>
          <a:p>
            <a:pPr marL="522900" lvl="1" indent="-342900">
              <a:buClr>
                <a:srgbClr val="8E2929"/>
              </a:buClr>
              <a:buFont typeface="Wingdings" pitchFamily="2" charset="2"/>
              <a:buChar char="Ø"/>
            </a:pPr>
            <a:r>
              <a:rPr lang="en-US" sz="2400" dirty="0">
                <a:solidFill>
                  <a:schemeClr val="tx1"/>
                </a:solidFill>
                <a:latin typeface="Palatino Linotype" panose="02040502050505030304" pitchFamily="18" charset="0"/>
              </a:rPr>
              <a:t>Nov. 2013 to Apr. 2014</a:t>
            </a:r>
            <a:r>
              <a:rPr lang="en-US" altLang="zh-CN" sz="2400" dirty="0">
                <a:solidFill>
                  <a:schemeClr val="tx1"/>
                </a:solidFill>
                <a:latin typeface="Palatino Linotype" panose="02040502050505030304" pitchFamily="18" charset="0"/>
              </a:rPr>
              <a:t>: relatively large fluctuations</a:t>
            </a:r>
            <a:endParaRPr lang="en-US" sz="2400" dirty="0">
              <a:solidFill>
                <a:schemeClr val="tx1"/>
              </a:solidFill>
              <a:latin typeface="Palatino Linotype" panose="02040502050505030304" pitchFamily="18" charset="0"/>
            </a:endParaRPr>
          </a:p>
          <a:p>
            <a:pPr marL="522900" lvl="1" indent="-342900">
              <a:buClr>
                <a:srgbClr val="8E2929"/>
              </a:buClr>
              <a:buFont typeface="Wingdings" pitchFamily="2" charset="2"/>
              <a:buChar char="Ø"/>
            </a:pPr>
            <a:r>
              <a:rPr lang="en-US" sz="2400" dirty="0">
                <a:solidFill>
                  <a:schemeClr val="tx1"/>
                </a:solidFill>
                <a:latin typeface="Palatino Linotype" panose="02040502050505030304" pitchFamily="18" charset="0"/>
              </a:rPr>
              <a:t>Apr. 2014</a:t>
            </a:r>
            <a:r>
              <a:rPr lang="zh-CN" altLang="en-US" sz="2400" dirty="0">
                <a:solidFill>
                  <a:schemeClr val="tx1"/>
                </a:solidFill>
                <a:latin typeface="Palatino Linotype" panose="02040502050505030304" pitchFamily="18" charset="0"/>
              </a:rPr>
              <a:t> </a:t>
            </a:r>
            <a:r>
              <a:rPr lang="en-US" altLang="zh-CN" sz="2400" dirty="0">
                <a:solidFill>
                  <a:schemeClr val="tx1"/>
                </a:solidFill>
                <a:latin typeface="Palatino Linotype" panose="02040502050505030304" pitchFamily="18" charset="0"/>
              </a:rPr>
              <a:t>to</a:t>
            </a:r>
            <a:r>
              <a:rPr lang="zh-CN" altLang="en-US" sz="2400" dirty="0">
                <a:solidFill>
                  <a:schemeClr val="tx1"/>
                </a:solidFill>
                <a:latin typeface="Palatino Linotype" panose="02040502050505030304" pitchFamily="18" charset="0"/>
              </a:rPr>
              <a:t> </a:t>
            </a:r>
            <a:r>
              <a:rPr lang="en-US" sz="2400" dirty="0">
                <a:solidFill>
                  <a:schemeClr val="tx1"/>
                </a:solidFill>
                <a:latin typeface="Palatino Linotype" panose="02040502050505030304" pitchFamily="18" charset="0"/>
              </a:rPr>
              <a:t>Aug.2014.</a:t>
            </a:r>
            <a:r>
              <a:rPr lang="en-US" altLang="zh-CN" sz="2400" dirty="0">
                <a:solidFill>
                  <a:schemeClr val="tx1"/>
                </a:solidFill>
                <a:latin typeface="Palatino Linotype" panose="02040502050505030304" pitchFamily="18" charset="0"/>
              </a:rPr>
              <a:t>:</a:t>
            </a:r>
            <a:r>
              <a:rPr lang="zh-CN" altLang="en-US" sz="2400" dirty="0">
                <a:solidFill>
                  <a:schemeClr val="tx1"/>
                </a:solidFill>
                <a:latin typeface="Palatino Linotype" panose="02040502050505030304" pitchFamily="18" charset="0"/>
              </a:rPr>
              <a:t> </a:t>
            </a:r>
            <a:r>
              <a:rPr lang="en-US" altLang="zh-CN" sz="2400" dirty="0">
                <a:solidFill>
                  <a:schemeClr val="tx1"/>
                </a:solidFill>
                <a:latin typeface="Palatino Linotype" panose="02040502050505030304" pitchFamily="18" charset="0"/>
              </a:rPr>
              <a:t>a stable period </a:t>
            </a:r>
            <a:endParaRPr lang="en-US" sz="2400" dirty="0">
              <a:solidFill>
                <a:schemeClr val="tx1"/>
              </a:solidFill>
              <a:latin typeface="Palatino Linotype" panose="02040502050505030304" pitchFamily="18" charset="0"/>
            </a:endParaRPr>
          </a:p>
        </p:txBody>
      </p:sp>
      <p:pic>
        <p:nvPicPr>
          <p:cNvPr id="4" name="图片 3">
            <a:extLst>
              <a:ext uri="{FF2B5EF4-FFF2-40B4-BE49-F238E27FC236}">
                <a16:creationId xmlns:a16="http://schemas.microsoft.com/office/drawing/2014/main" id="{E850E251-1351-1E40-BA51-9CD85D26AF5B}"/>
              </a:ext>
            </a:extLst>
          </p:cNvPr>
          <p:cNvPicPr>
            <a:picLocks noChangeAspect="1"/>
          </p:cNvPicPr>
          <p:nvPr/>
        </p:nvPicPr>
        <p:blipFill rotWithShape="1">
          <a:blip r:embed="rId3"/>
          <a:srcRect t="6575" b="3082"/>
          <a:stretch/>
        </p:blipFill>
        <p:spPr>
          <a:xfrm>
            <a:off x="304924" y="1019610"/>
            <a:ext cx="8931758" cy="3196786"/>
          </a:xfrm>
          <a:prstGeom prst="rect">
            <a:avLst/>
          </a:prstGeom>
        </p:spPr>
      </p:pic>
    </p:spTree>
    <p:extLst>
      <p:ext uri="{BB962C8B-B14F-4D97-AF65-F5344CB8AC3E}">
        <p14:creationId xmlns:p14="http://schemas.microsoft.com/office/powerpoint/2010/main" val="16759259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dirty="0"/>
              <a:t>Time series analysis</a:t>
            </a:r>
          </a:p>
        </p:txBody>
      </p:sp>
      <p:sp>
        <p:nvSpPr>
          <p:cNvPr id="3" name="Text Placeholder 5"/>
          <p:cNvSpPr txBox="1">
            <a:spLocks/>
          </p:cNvSpPr>
          <p:nvPr/>
        </p:nvSpPr>
        <p:spPr>
          <a:xfrm>
            <a:off x="264840" y="1160463"/>
            <a:ext cx="9403035" cy="5149850"/>
          </a:xfrm>
          <a:prstGeom prst="rect">
            <a:avLst/>
          </a:prstGeom>
        </p:spPr>
        <p:txBody>
          <a:bodyPr/>
          <a:lstStyle>
            <a:lvl1pPr marL="188568" indent="-188568" algn="l" defTabSz="957925" rtl="0" eaLnBrk="1" latinLnBrk="0" hangingPunct="1">
              <a:lnSpc>
                <a:spcPct val="90000"/>
              </a:lnSpc>
              <a:spcBef>
                <a:spcPts val="1467"/>
              </a:spcBef>
              <a:buClr>
                <a:schemeClr val="bg2"/>
              </a:buClr>
              <a:buSzPct val="100000"/>
              <a:buFont typeface="Arial" pitchFamily="34" charset="0"/>
              <a:buChar char="■"/>
              <a:defRPr sz="1700" kern="1200">
                <a:solidFill>
                  <a:schemeClr val="tx1"/>
                </a:solidFill>
                <a:latin typeface="Palatino Linotype" panose="02040502050505030304" pitchFamily="18" charset="0"/>
                <a:ea typeface="+mn-ea"/>
                <a:cs typeface="Arial" pitchFamily="34" charset="0"/>
              </a:defRPr>
            </a:lvl1pPr>
            <a:lvl2pPr marL="325695" indent="-134110" algn="l" defTabSz="957925" rtl="0" eaLnBrk="1" latinLnBrk="0" hangingPunct="1">
              <a:lnSpc>
                <a:spcPct val="90000"/>
              </a:lnSpc>
              <a:spcBef>
                <a:spcPts val="943"/>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2pPr>
            <a:lvl3pPr marL="512905" indent="-188568" algn="l" defTabSz="957925" rtl="0" eaLnBrk="1" latinLnBrk="0" hangingPunct="1">
              <a:lnSpc>
                <a:spcPct val="90000"/>
              </a:lnSpc>
              <a:spcBef>
                <a:spcPts val="629"/>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3pPr>
            <a:lvl4pPr marL="663759" indent="-143689" algn="l" defTabSz="957925" rtl="0" eaLnBrk="1" latinLnBrk="0" hangingPunct="1">
              <a:lnSpc>
                <a:spcPct val="90000"/>
              </a:lnSpc>
              <a:spcBef>
                <a:spcPts val="210"/>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4pPr>
            <a:lvl5pPr marL="807071" indent="-143312" algn="l" defTabSz="957925" rtl="0" eaLnBrk="1" latinLnBrk="0" hangingPunct="1">
              <a:lnSpc>
                <a:spcPct val="90000"/>
              </a:lnSpc>
              <a:spcBef>
                <a:spcPts val="105"/>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5pPr>
            <a:lvl6pPr marL="2634295"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3258"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2220"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1183"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buNone/>
            </a:pPr>
            <a:endParaRPr lang="en-US" sz="1600" dirty="0"/>
          </a:p>
        </p:txBody>
      </p:sp>
      <p:pic>
        <p:nvPicPr>
          <p:cNvPr id="6" name="图片 5">
            <a:extLst>
              <a:ext uri="{FF2B5EF4-FFF2-40B4-BE49-F238E27FC236}">
                <a16:creationId xmlns:a16="http://schemas.microsoft.com/office/drawing/2014/main" id="{3CE71D8B-6D51-4248-AA4B-F45FB0FAC92F}"/>
              </a:ext>
            </a:extLst>
          </p:cNvPr>
          <p:cNvPicPr/>
          <p:nvPr/>
        </p:nvPicPr>
        <p:blipFill rotWithShape="1">
          <a:blip r:embed="rId4">
            <a:extLst>
              <a:ext uri="{28A0092B-C50C-407E-A947-70E740481C1C}">
                <a14:useLocalDpi xmlns:a14="http://schemas.microsoft.com/office/drawing/2010/main" val="0"/>
              </a:ext>
            </a:extLst>
          </a:blip>
          <a:srcRect l="10034" r="8861"/>
          <a:stretch/>
        </p:blipFill>
        <p:spPr bwMode="auto">
          <a:xfrm>
            <a:off x="559718" y="3346956"/>
            <a:ext cx="8316924" cy="3071170"/>
          </a:xfrm>
          <a:prstGeom prst="rect">
            <a:avLst/>
          </a:prstGeom>
          <a:ln>
            <a:noFill/>
          </a:ln>
          <a:extLst>
            <a:ext uri="{53640926-AAD7-44D8-BBD7-CCE9431645EC}">
              <a14:shadowObscured xmlns:a14="http://schemas.microsoft.com/office/drawing/2010/main"/>
            </a:ext>
          </a:extLst>
        </p:spPr>
      </p:pic>
      <p:sp>
        <p:nvSpPr>
          <p:cNvPr id="8" name="Text Box 10">
            <a:extLst>
              <a:ext uri="{FF2B5EF4-FFF2-40B4-BE49-F238E27FC236}">
                <a16:creationId xmlns:a16="http://schemas.microsoft.com/office/drawing/2014/main" id="{701E4835-11FD-C646-B75C-73F59BE57B23}"/>
              </a:ext>
            </a:extLst>
          </p:cNvPr>
          <p:cNvSpPr txBox="1">
            <a:spLocks noChangeArrowheads="1"/>
          </p:cNvSpPr>
          <p:nvPr>
            <p:custDataLst>
              <p:tags r:id="rId1"/>
            </p:custDataLst>
          </p:nvPr>
        </p:nvSpPr>
        <p:spPr bwMode="auto">
          <a:xfrm>
            <a:off x="343695" y="1089534"/>
            <a:ext cx="8892989" cy="249678"/>
          </a:xfrm>
          <a:prstGeom prst="rect">
            <a:avLst/>
          </a:prstGeom>
          <a:solidFill>
            <a:schemeClr val="bg2"/>
          </a:solidFill>
          <a:ln w="12700" algn="ctr">
            <a:solidFill>
              <a:schemeClr val="bg2"/>
            </a:solidFill>
            <a:miter lim="800000"/>
            <a:headEnd/>
            <a:tailEnd type="none" w="sm" len="med"/>
          </a:ln>
        </p:spPr>
        <p:txBody>
          <a:bodyPr lIns="36000" tIns="36000" rIns="36000" bIns="36000" anchor="ctr" anchorCtr="1"/>
          <a:lstStyle/>
          <a:p>
            <a:pPr algn="ctr" defTabSz="957263"/>
            <a:endParaRPr lang="en-US" sz="1400" b="1" dirty="0">
              <a:solidFill>
                <a:schemeClr val="bg1"/>
              </a:solidFill>
              <a:latin typeface="Palatino Linotype" panose="02040502050505030304" pitchFamily="18" charset="0"/>
            </a:endParaRPr>
          </a:p>
        </p:txBody>
      </p:sp>
      <p:sp>
        <p:nvSpPr>
          <p:cNvPr id="9" name="Text Placeholder 5">
            <a:extLst>
              <a:ext uri="{FF2B5EF4-FFF2-40B4-BE49-F238E27FC236}">
                <a16:creationId xmlns:a16="http://schemas.microsoft.com/office/drawing/2014/main" id="{909B3990-D089-9B4E-8473-B6E51809FDED}"/>
              </a:ext>
            </a:extLst>
          </p:cNvPr>
          <p:cNvSpPr txBox="1">
            <a:spLocks/>
          </p:cNvSpPr>
          <p:nvPr/>
        </p:nvSpPr>
        <p:spPr>
          <a:xfrm>
            <a:off x="343694" y="1341562"/>
            <a:ext cx="8892989" cy="2091785"/>
          </a:xfrm>
          <a:prstGeom prst="rect">
            <a:avLst/>
          </a:prstGeom>
          <a:ln w="12700">
            <a:solidFill>
              <a:schemeClr val="bg2"/>
            </a:solidFill>
          </a:ln>
        </p:spPr>
        <p:txBody>
          <a:bodyPr wrap="square" lIns="3600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endParaRPr lang="en-US" dirty="0">
              <a:solidFill>
                <a:schemeClr val="tx1"/>
              </a:solidFill>
              <a:latin typeface="Palatino Linotype" panose="02040502050505030304" pitchFamily="18" charset="0"/>
            </a:endParaRPr>
          </a:p>
        </p:txBody>
      </p:sp>
      <p:sp>
        <p:nvSpPr>
          <p:cNvPr id="7" name="文本框 6">
            <a:extLst>
              <a:ext uri="{FF2B5EF4-FFF2-40B4-BE49-F238E27FC236}">
                <a16:creationId xmlns:a16="http://schemas.microsoft.com/office/drawing/2014/main" id="{B7B7B559-8900-FE40-B066-65FA2B8B43CB}"/>
              </a:ext>
            </a:extLst>
          </p:cNvPr>
          <p:cNvSpPr txBox="1"/>
          <p:nvPr/>
        </p:nvSpPr>
        <p:spPr>
          <a:xfrm>
            <a:off x="343694" y="1399049"/>
            <a:ext cx="8892989" cy="2169055"/>
          </a:xfrm>
          <a:prstGeom prst="rect">
            <a:avLst/>
          </a:prstGeom>
          <a:noFill/>
          <a:ln w="6350" cap="flat">
            <a:noFill/>
            <a:miter lim="800000"/>
          </a:ln>
        </p:spPr>
        <p:txBody>
          <a:bodyPr wrap="square" lIns="0" tIns="0" rIns="0" bIns="0" rtlCol="0" anchor="t" anchorCtr="0">
            <a:spAutoFit/>
          </a:bodyPr>
          <a:lstStyle/>
          <a:p>
            <a:pPr marL="342900" indent="-342900">
              <a:lnSpc>
                <a:spcPct val="90000"/>
              </a:lnSpc>
              <a:spcBef>
                <a:spcPts val="600"/>
              </a:spcBef>
              <a:buClr>
                <a:schemeClr val="bg2"/>
              </a:buClr>
              <a:buFont typeface="Wingdings" pitchFamily="2" charset="2"/>
              <a:buChar char="ü"/>
            </a:pPr>
            <a:r>
              <a:rPr kumimoji="1" lang="en-US" altLang="zh-CN" sz="2400" dirty="0">
                <a:latin typeface="Palatino" pitchFamily="2" charset="0"/>
                <a:ea typeface="Palatino" pitchFamily="2" charset="0"/>
                <a:cs typeface="Times New Roman" panose="02020603050405020304" pitchFamily="18" charset="0"/>
              </a:rPr>
              <a:t>Regular</a:t>
            </a:r>
            <a:r>
              <a:rPr kumimoji="1" lang="zh-CN" altLang="en-US" sz="2400" dirty="0">
                <a:latin typeface="Palatino" pitchFamily="2" charset="0"/>
                <a:ea typeface="Palatino" pitchFamily="2" charset="0"/>
                <a:cs typeface="Times New Roman" panose="02020603050405020304" pitchFamily="18" charset="0"/>
              </a:rPr>
              <a:t> </a:t>
            </a:r>
            <a:r>
              <a:rPr kumimoji="1" lang="en-US" altLang="zh-CN" sz="2400" dirty="0">
                <a:latin typeface="Palatino" pitchFamily="2" charset="0"/>
                <a:ea typeface="Palatino" pitchFamily="2" charset="0"/>
                <a:cs typeface="Times New Roman" panose="02020603050405020304" pitchFamily="18" charset="0"/>
              </a:rPr>
              <a:t>user</a:t>
            </a:r>
            <a:r>
              <a:rPr kumimoji="1" lang="zh-CN" altLang="en-US" sz="2400" dirty="0">
                <a:latin typeface="Palatino" pitchFamily="2" charset="0"/>
                <a:ea typeface="Palatino" pitchFamily="2" charset="0"/>
                <a:cs typeface="Times New Roman" panose="02020603050405020304" pitchFamily="18" charset="0"/>
              </a:rPr>
              <a:t> </a:t>
            </a:r>
            <a:r>
              <a:rPr kumimoji="1" lang="en-US" altLang="zh-CN" sz="2400" dirty="0">
                <a:latin typeface="Palatino" pitchFamily="2" charset="0"/>
                <a:ea typeface="Palatino" pitchFamily="2" charset="0"/>
                <a:cs typeface="Times New Roman" panose="02020603050405020304" pitchFamily="18" charset="0"/>
              </a:rPr>
              <a:t>behavior</a:t>
            </a:r>
            <a:r>
              <a:rPr kumimoji="1" lang="zh-CN" altLang="en-US" sz="2400" dirty="0">
                <a:latin typeface="Palatino" pitchFamily="2" charset="0"/>
                <a:ea typeface="Palatino" pitchFamily="2" charset="0"/>
                <a:cs typeface="Times New Roman" panose="02020603050405020304" pitchFamily="18" charset="0"/>
              </a:rPr>
              <a:t> </a:t>
            </a:r>
            <a:r>
              <a:rPr kumimoji="1" lang="en-US" altLang="zh-CN" sz="2400" dirty="0">
                <a:latin typeface="Palatino" pitchFamily="2" charset="0"/>
                <a:ea typeface="Palatino" pitchFamily="2" charset="0"/>
                <a:cs typeface="Times New Roman" panose="02020603050405020304" pitchFamily="18" charset="0"/>
              </a:rPr>
              <a:t>←</a:t>
            </a:r>
            <a:r>
              <a:rPr kumimoji="1" lang="zh-CN" altLang="en-US" sz="2400" dirty="0">
                <a:latin typeface="Palatino" pitchFamily="2" charset="0"/>
                <a:ea typeface="Palatino" pitchFamily="2" charset="0"/>
                <a:cs typeface="Times New Roman" panose="02020603050405020304" pitchFamily="18" charset="0"/>
              </a:rPr>
              <a:t> </a:t>
            </a:r>
            <a:r>
              <a:rPr kumimoji="1" lang="en" altLang="zh-CN" sz="2400" dirty="0">
                <a:latin typeface="Palatino" pitchFamily="2" charset="0"/>
                <a:ea typeface="Palatino" pitchFamily="2" charset="0"/>
                <a:cs typeface="Times New Roman" panose="02020603050405020304" pitchFamily="18" charset="0"/>
              </a:rPr>
              <a:t>data to be relatively smooth</a:t>
            </a:r>
          </a:p>
          <a:p>
            <a:pPr marL="342900" indent="-342900">
              <a:lnSpc>
                <a:spcPct val="90000"/>
              </a:lnSpc>
              <a:spcBef>
                <a:spcPts val="600"/>
              </a:spcBef>
              <a:buClr>
                <a:schemeClr val="bg2"/>
              </a:buClr>
              <a:buFont typeface="Wingdings" pitchFamily="2" charset="2"/>
              <a:buChar char="ü"/>
            </a:pPr>
            <a:r>
              <a:rPr kumimoji="1" lang="en" altLang="zh-CN" sz="2400" dirty="0">
                <a:latin typeface="Palatino" pitchFamily="2" charset="0"/>
                <a:ea typeface="Palatino" pitchFamily="2" charset="0"/>
                <a:cs typeface="Times New Roman" panose="02020603050405020304" pitchFamily="18" charset="0"/>
              </a:rPr>
              <a:t>Select samples to describe the characteristics of September</a:t>
            </a:r>
          </a:p>
          <a:p>
            <a:pPr>
              <a:lnSpc>
                <a:spcPct val="90000"/>
              </a:lnSpc>
              <a:spcBef>
                <a:spcPts val="600"/>
              </a:spcBef>
              <a:buClr>
                <a:schemeClr val="bg2"/>
              </a:buClr>
            </a:pPr>
            <a:endParaRPr kumimoji="1" lang="en" altLang="zh-CN" sz="2400" dirty="0">
              <a:latin typeface="Palatino" pitchFamily="2" charset="0"/>
              <a:ea typeface="Palatino" pitchFamily="2" charset="0"/>
              <a:cs typeface="Times New Roman" panose="02020603050405020304" pitchFamily="18" charset="0"/>
            </a:endParaRPr>
          </a:p>
          <a:p>
            <a:pPr marL="342900" indent="-342900">
              <a:lnSpc>
                <a:spcPct val="90000"/>
              </a:lnSpc>
              <a:spcBef>
                <a:spcPts val="600"/>
              </a:spcBef>
              <a:buClr>
                <a:schemeClr val="bg2"/>
              </a:buClr>
              <a:buFont typeface="Wingdings" pitchFamily="2" charset="2"/>
              <a:buChar char="Ø"/>
            </a:pPr>
            <a:r>
              <a:rPr kumimoji="1" lang="en" altLang="zh-CN" sz="2400" dirty="0">
                <a:latin typeface="Palatino" pitchFamily="2" charset="0"/>
                <a:ea typeface="Palatino" pitchFamily="2" charset="0"/>
                <a:cs typeface="Times New Roman" panose="02020603050405020304" pitchFamily="18" charset="0"/>
              </a:rPr>
              <a:t>choose the data of the stationary period from April to August for modeling</a:t>
            </a:r>
            <a:r>
              <a:rPr kumimoji="1" lang="zh-CN" altLang="en-US" sz="2400" dirty="0">
                <a:latin typeface="Palatino" pitchFamily="2" charset="0"/>
                <a:ea typeface="Palatino" pitchFamily="2" charset="0"/>
                <a:cs typeface="Times New Roman" panose="02020603050405020304" pitchFamily="18" charset="0"/>
              </a:rPr>
              <a:t> （</a:t>
            </a:r>
            <a:r>
              <a:rPr kumimoji="1" lang="en-US" altLang="zh-CN" sz="2400" dirty="0">
                <a:latin typeface="Palatino" pitchFamily="2" charset="0"/>
                <a:ea typeface="Palatino" pitchFamily="2" charset="0"/>
                <a:cs typeface="Times New Roman" panose="02020603050405020304" pitchFamily="18" charset="0"/>
              </a:rPr>
              <a:t>DF</a:t>
            </a:r>
            <a:r>
              <a:rPr kumimoji="1" lang="zh-CN" altLang="en-US" sz="2400" dirty="0">
                <a:latin typeface="Palatino" pitchFamily="2" charset="0"/>
                <a:ea typeface="Palatino" pitchFamily="2" charset="0"/>
                <a:cs typeface="Times New Roman" panose="02020603050405020304" pitchFamily="18" charset="0"/>
              </a:rPr>
              <a:t> </a:t>
            </a:r>
            <a:r>
              <a:rPr kumimoji="1" lang="en-US" altLang="zh-CN" sz="2400" dirty="0">
                <a:latin typeface="Palatino" pitchFamily="2" charset="0"/>
                <a:ea typeface="Palatino" pitchFamily="2" charset="0"/>
                <a:cs typeface="Times New Roman" panose="02020603050405020304" pitchFamily="18" charset="0"/>
              </a:rPr>
              <a:t>Test</a:t>
            </a:r>
            <a:r>
              <a:rPr kumimoji="1" lang="zh-CN" altLang="en-US" sz="2400" dirty="0">
                <a:latin typeface="Palatino" pitchFamily="2" charset="0"/>
                <a:ea typeface="Palatino" pitchFamily="2" charset="0"/>
                <a:cs typeface="Times New Roman" panose="02020603050405020304" pitchFamily="18" charset="0"/>
              </a:rPr>
              <a:t>）</a:t>
            </a:r>
          </a:p>
          <a:p>
            <a:pPr>
              <a:lnSpc>
                <a:spcPct val="90000"/>
              </a:lnSpc>
              <a:spcBef>
                <a:spcPts val="600"/>
              </a:spcBef>
              <a:buClr>
                <a:schemeClr val="bg2"/>
              </a:buClr>
            </a:pPr>
            <a:endParaRPr kumimoji="1" lang="zh-CN" altLang="en-US" sz="1400" dirty="0">
              <a:latin typeface="Palatino" pitchFamily="2" charset="0"/>
              <a:cs typeface="Arial" pitchFamily="34" charset="0"/>
            </a:endParaRPr>
          </a:p>
        </p:txBody>
      </p:sp>
    </p:spTree>
    <p:extLst>
      <p:ext uri="{BB962C8B-B14F-4D97-AF65-F5344CB8AC3E}">
        <p14:creationId xmlns:p14="http://schemas.microsoft.com/office/powerpoint/2010/main" val="19195175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dirty="0"/>
              <a:t>Time series analysis</a:t>
            </a:r>
          </a:p>
        </p:txBody>
      </p:sp>
      <p:sp>
        <p:nvSpPr>
          <p:cNvPr id="3" name="Text Placeholder 5"/>
          <p:cNvSpPr txBox="1">
            <a:spLocks/>
          </p:cNvSpPr>
          <p:nvPr/>
        </p:nvSpPr>
        <p:spPr>
          <a:xfrm>
            <a:off x="264840" y="1160463"/>
            <a:ext cx="9403035" cy="5149850"/>
          </a:xfrm>
          <a:prstGeom prst="rect">
            <a:avLst/>
          </a:prstGeom>
        </p:spPr>
        <p:txBody>
          <a:bodyPr/>
          <a:lstStyle>
            <a:lvl1pPr marL="188568" indent="-188568" algn="l" defTabSz="957925" rtl="0" eaLnBrk="1" latinLnBrk="0" hangingPunct="1">
              <a:lnSpc>
                <a:spcPct val="90000"/>
              </a:lnSpc>
              <a:spcBef>
                <a:spcPts val="1467"/>
              </a:spcBef>
              <a:buClr>
                <a:schemeClr val="bg2"/>
              </a:buClr>
              <a:buSzPct val="100000"/>
              <a:buFont typeface="Arial" pitchFamily="34" charset="0"/>
              <a:buChar char="■"/>
              <a:defRPr sz="1700" kern="1200">
                <a:solidFill>
                  <a:schemeClr val="tx1"/>
                </a:solidFill>
                <a:latin typeface="Palatino Linotype" panose="02040502050505030304" pitchFamily="18" charset="0"/>
                <a:ea typeface="+mn-ea"/>
                <a:cs typeface="Arial" pitchFamily="34" charset="0"/>
              </a:defRPr>
            </a:lvl1pPr>
            <a:lvl2pPr marL="325695" indent="-134110" algn="l" defTabSz="957925" rtl="0" eaLnBrk="1" latinLnBrk="0" hangingPunct="1">
              <a:lnSpc>
                <a:spcPct val="90000"/>
              </a:lnSpc>
              <a:spcBef>
                <a:spcPts val="943"/>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2pPr>
            <a:lvl3pPr marL="512905" indent="-188568" algn="l" defTabSz="957925" rtl="0" eaLnBrk="1" latinLnBrk="0" hangingPunct="1">
              <a:lnSpc>
                <a:spcPct val="90000"/>
              </a:lnSpc>
              <a:spcBef>
                <a:spcPts val="629"/>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3pPr>
            <a:lvl4pPr marL="663759" indent="-143689" algn="l" defTabSz="957925" rtl="0" eaLnBrk="1" latinLnBrk="0" hangingPunct="1">
              <a:lnSpc>
                <a:spcPct val="90000"/>
              </a:lnSpc>
              <a:spcBef>
                <a:spcPts val="210"/>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4pPr>
            <a:lvl5pPr marL="807071" indent="-143312" algn="l" defTabSz="957925" rtl="0" eaLnBrk="1" latinLnBrk="0" hangingPunct="1">
              <a:lnSpc>
                <a:spcPct val="90000"/>
              </a:lnSpc>
              <a:spcBef>
                <a:spcPts val="105"/>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5pPr>
            <a:lvl6pPr marL="2634295"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3258"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2220"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1183"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buNone/>
            </a:pPr>
            <a:endParaRPr lang="en-US" sz="1600" dirty="0"/>
          </a:p>
        </p:txBody>
      </p:sp>
      <p:pic>
        <p:nvPicPr>
          <p:cNvPr id="10" name="图片 9">
            <a:extLst>
              <a:ext uri="{FF2B5EF4-FFF2-40B4-BE49-F238E27FC236}">
                <a16:creationId xmlns:a16="http://schemas.microsoft.com/office/drawing/2014/main" id="{AF019BAF-7186-4042-B62C-868852800719}"/>
              </a:ext>
            </a:extLst>
          </p:cNvPr>
          <p:cNvPicPr/>
          <p:nvPr/>
        </p:nvPicPr>
        <p:blipFill rotWithShape="1">
          <a:blip r:embed="rId3">
            <a:extLst>
              <a:ext uri="{28A0092B-C50C-407E-A947-70E740481C1C}">
                <a14:useLocalDpi xmlns:a14="http://schemas.microsoft.com/office/drawing/2010/main" val="0"/>
              </a:ext>
            </a:extLst>
          </a:blip>
          <a:srcRect l="8881" t="9357" r="6413" b="8670"/>
          <a:stretch/>
        </p:blipFill>
        <p:spPr>
          <a:xfrm>
            <a:off x="264840" y="1160463"/>
            <a:ext cx="6413838" cy="5402262"/>
          </a:xfrm>
          <a:prstGeom prst="rect">
            <a:avLst/>
          </a:prstGeom>
        </p:spPr>
      </p:pic>
      <p:sp>
        <p:nvSpPr>
          <p:cNvPr id="11" name="Text Placeholder 5">
            <a:extLst>
              <a:ext uri="{FF2B5EF4-FFF2-40B4-BE49-F238E27FC236}">
                <a16:creationId xmlns:a16="http://schemas.microsoft.com/office/drawing/2014/main" id="{764CAA05-6D02-8B43-8F7B-750CB636FE99}"/>
              </a:ext>
            </a:extLst>
          </p:cNvPr>
          <p:cNvSpPr txBox="1">
            <a:spLocks/>
          </p:cNvSpPr>
          <p:nvPr/>
        </p:nvSpPr>
        <p:spPr>
          <a:xfrm>
            <a:off x="6680397" y="1796070"/>
            <a:ext cx="2808313" cy="4190008"/>
          </a:xfrm>
          <a:prstGeom prst="rect">
            <a:avLst/>
          </a:prstGeom>
          <a:ln w="12700">
            <a:solidFill>
              <a:schemeClr val="bg2"/>
            </a:solidFill>
          </a:ln>
        </p:spPr>
        <p:txBody>
          <a:bodyPr wrap="square" lIns="3600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85750" indent="-285750">
              <a:buClr>
                <a:srgbClr val="8E2929"/>
              </a:buClr>
              <a:buFont typeface="Wingdings" pitchFamily="2" charset="2"/>
              <a:buChar char="ü"/>
            </a:pPr>
            <a:endParaRPr lang="en-US" altLang="zh-CN" sz="2400" dirty="0">
              <a:solidFill>
                <a:schemeClr val="tx1"/>
              </a:solidFill>
              <a:latin typeface="Palatino Linotype" panose="02040502050505030304" pitchFamily="18" charset="0"/>
            </a:endParaRPr>
          </a:p>
          <a:p>
            <a:pPr marL="285750" indent="-285750">
              <a:buClr>
                <a:srgbClr val="8E2929"/>
              </a:buClr>
              <a:buFont typeface="Wingdings" pitchFamily="2" charset="2"/>
              <a:buChar char="ü"/>
            </a:pPr>
            <a:r>
              <a:rPr lang="en-US" altLang="zh-CN" sz="2400" dirty="0">
                <a:solidFill>
                  <a:schemeClr val="tx1"/>
                </a:solidFill>
                <a:latin typeface="Palatino Linotype" panose="02040502050505030304" pitchFamily="18" charset="0"/>
              </a:rPr>
              <a:t>T</a:t>
            </a:r>
            <a:r>
              <a:rPr lang="en-US" sz="2400" dirty="0">
                <a:solidFill>
                  <a:schemeClr val="tx1"/>
                </a:solidFill>
                <a:latin typeface="Palatino Linotype" panose="02040502050505030304" pitchFamily="18" charset="0"/>
              </a:rPr>
              <a:t>ime series diagram of each month</a:t>
            </a:r>
          </a:p>
          <a:p>
            <a:pPr marL="522900" lvl="1" indent="-342900">
              <a:buClr>
                <a:srgbClr val="8E2929"/>
              </a:buClr>
              <a:buFont typeface="Wingdings" pitchFamily="2" charset="2"/>
              <a:buChar char="Ø"/>
            </a:pPr>
            <a:r>
              <a:rPr lang="en-US" sz="2400" dirty="0">
                <a:solidFill>
                  <a:schemeClr val="tx1"/>
                </a:solidFill>
                <a:latin typeface="Palatino Linotype" panose="02040502050505030304" pitchFamily="18" charset="0"/>
              </a:rPr>
              <a:t>it has a feature of a seven-day cycle</a:t>
            </a:r>
          </a:p>
          <a:p>
            <a:endParaRPr lang="en-US" sz="2400" dirty="0">
              <a:solidFill>
                <a:schemeClr val="tx1"/>
              </a:solidFill>
              <a:latin typeface="Palatino Linotype" panose="02040502050505030304" pitchFamily="18" charset="0"/>
            </a:endParaRPr>
          </a:p>
          <a:p>
            <a:r>
              <a:rPr lang="en-US" sz="2400" dirty="0">
                <a:solidFill>
                  <a:schemeClr val="tx1"/>
                </a:solidFill>
                <a:latin typeface="Palatino Linotype" panose="02040502050505030304" pitchFamily="18" charset="0"/>
              </a:rPr>
              <a:t>→</a:t>
            </a:r>
            <a:r>
              <a:rPr lang="zh-CN" altLang="en-US" sz="2400" dirty="0">
                <a:solidFill>
                  <a:schemeClr val="tx1"/>
                </a:solidFill>
                <a:latin typeface="Palatino Linotype" panose="02040502050505030304" pitchFamily="18" charset="0"/>
              </a:rPr>
              <a:t> </a:t>
            </a:r>
            <a:r>
              <a:rPr lang="en-US" altLang="zh-CN" sz="2400" dirty="0">
                <a:solidFill>
                  <a:schemeClr val="tx1"/>
                </a:solidFill>
                <a:latin typeface="Palatino Linotype" panose="02040502050505030304" pitchFamily="18" charset="0"/>
              </a:rPr>
              <a:t>Confirm</a:t>
            </a:r>
            <a:r>
              <a:rPr lang="zh-CN" altLang="en-US" sz="2400" dirty="0">
                <a:solidFill>
                  <a:schemeClr val="tx1"/>
                </a:solidFill>
                <a:latin typeface="Palatino Linotype" panose="02040502050505030304" pitchFamily="18" charset="0"/>
              </a:rPr>
              <a:t> </a:t>
            </a:r>
            <a:r>
              <a:rPr lang="en-US" altLang="zh-CN" sz="2400" dirty="0">
                <a:solidFill>
                  <a:schemeClr val="tx1"/>
                </a:solidFill>
                <a:latin typeface="Palatino Linotype" panose="02040502050505030304" pitchFamily="18" charset="0"/>
              </a:rPr>
              <a:t>our</a:t>
            </a:r>
            <a:r>
              <a:rPr lang="zh-CN" altLang="en-US" sz="2400" dirty="0">
                <a:solidFill>
                  <a:schemeClr val="tx1"/>
                </a:solidFill>
                <a:latin typeface="Palatino Linotype" panose="02040502050505030304" pitchFamily="18" charset="0"/>
              </a:rPr>
              <a:t> </a:t>
            </a:r>
            <a:r>
              <a:rPr lang="en-US" altLang="zh-CN" sz="2400" dirty="0">
                <a:solidFill>
                  <a:schemeClr val="tx1"/>
                </a:solidFill>
                <a:latin typeface="Palatino Linotype" panose="02040502050505030304" pitchFamily="18" charset="0"/>
              </a:rPr>
              <a:t>previous</a:t>
            </a:r>
            <a:r>
              <a:rPr lang="zh-CN" altLang="en-US" sz="2400" dirty="0">
                <a:solidFill>
                  <a:schemeClr val="tx1"/>
                </a:solidFill>
                <a:latin typeface="Palatino Linotype" panose="02040502050505030304" pitchFamily="18" charset="0"/>
              </a:rPr>
              <a:t> </a:t>
            </a:r>
            <a:r>
              <a:rPr lang="en-US" altLang="zh-CN" sz="2400" dirty="0">
                <a:solidFill>
                  <a:schemeClr val="tx1"/>
                </a:solidFill>
                <a:latin typeface="Palatino Linotype" panose="02040502050505030304" pitchFamily="18" charset="0"/>
              </a:rPr>
              <a:t>thoughts</a:t>
            </a:r>
            <a:endParaRPr lang="en-US" sz="2400" dirty="0">
              <a:solidFill>
                <a:schemeClr val="tx1"/>
              </a:solidFill>
              <a:latin typeface="Palatino Linotype" panose="02040502050505030304" pitchFamily="18" charset="0"/>
            </a:endParaRPr>
          </a:p>
        </p:txBody>
      </p:sp>
      <p:sp>
        <p:nvSpPr>
          <p:cNvPr id="12" name="Text Box 10">
            <a:extLst>
              <a:ext uri="{FF2B5EF4-FFF2-40B4-BE49-F238E27FC236}">
                <a16:creationId xmlns:a16="http://schemas.microsoft.com/office/drawing/2014/main" id="{66E11E02-5AED-934C-B386-99B77709989B}"/>
              </a:ext>
            </a:extLst>
          </p:cNvPr>
          <p:cNvSpPr txBox="1">
            <a:spLocks noChangeArrowheads="1"/>
          </p:cNvSpPr>
          <p:nvPr>
            <p:custDataLst>
              <p:tags r:id="rId1"/>
            </p:custDataLst>
          </p:nvPr>
        </p:nvSpPr>
        <p:spPr bwMode="auto">
          <a:xfrm>
            <a:off x="6679944" y="1544814"/>
            <a:ext cx="2807500" cy="311178"/>
          </a:xfrm>
          <a:prstGeom prst="rect">
            <a:avLst/>
          </a:prstGeom>
          <a:solidFill>
            <a:schemeClr val="bg2"/>
          </a:solidFill>
          <a:ln w="12700" algn="ctr">
            <a:solidFill>
              <a:schemeClr val="bg2"/>
            </a:solidFill>
            <a:miter lim="800000"/>
            <a:headEnd/>
            <a:tailEnd type="none" w="sm" len="med"/>
          </a:ln>
        </p:spPr>
        <p:txBody>
          <a:bodyPr lIns="36000" tIns="36000" rIns="36000" bIns="36000" anchor="ctr" anchorCtr="1"/>
          <a:lstStyle/>
          <a:p>
            <a:pPr algn="ctr" defTabSz="957263"/>
            <a:endParaRPr lang="en-US" sz="1400" b="1" dirty="0">
              <a:solidFill>
                <a:schemeClr val="bg1"/>
              </a:solidFill>
              <a:latin typeface="Palatino Linotype" panose="02040502050505030304" pitchFamily="18" charset="0"/>
            </a:endParaRPr>
          </a:p>
        </p:txBody>
      </p:sp>
    </p:spTree>
    <p:extLst>
      <p:ext uri="{BB962C8B-B14F-4D97-AF65-F5344CB8AC3E}">
        <p14:creationId xmlns:p14="http://schemas.microsoft.com/office/powerpoint/2010/main" val="2617504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dirty="0"/>
              <a:t>Time series analysis</a:t>
            </a:r>
          </a:p>
        </p:txBody>
      </p:sp>
      <p:sp>
        <p:nvSpPr>
          <p:cNvPr id="3" name="Text Placeholder 5"/>
          <p:cNvSpPr txBox="1">
            <a:spLocks/>
          </p:cNvSpPr>
          <p:nvPr/>
        </p:nvSpPr>
        <p:spPr>
          <a:xfrm>
            <a:off x="264840" y="1160463"/>
            <a:ext cx="9403035" cy="5149850"/>
          </a:xfrm>
          <a:prstGeom prst="rect">
            <a:avLst/>
          </a:prstGeom>
        </p:spPr>
        <p:txBody>
          <a:bodyPr/>
          <a:lstStyle>
            <a:lvl1pPr marL="188568" indent="-188568" algn="l" defTabSz="957925" rtl="0" eaLnBrk="1" latinLnBrk="0" hangingPunct="1">
              <a:lnSpc>
                <a:spcPct val="90000"/>
              </a:lnSpc>
              <a:spcBef>
                <a:spcPts val="1467"/>
              </a:spcBef>
              <a:buClr>
                <a:schemeClr val="bg2"/>
              </a:buClr>
              <a:buSzPct val="100000"/>
              <a:buFont typeface="Arial" pitchFamily="34" charset="0"/>
              <a:buChar char="■"/>
              <a:defRPr sz="1700" kern="1200">
                <a:solidFill>
                  <a:schemeClr val="tx1"/>
                </a:solidFill>
                <a:latin typeface="Palatino Linotype" panose="02040502050505030304" pitchFamily="18" charset="0"/>
                <a:ea typeface="+mn-ea"/>
                <a:cs typeface="Arial" pitchFamily="34" charset="0"/>
              </a:defRPr>
            </a:lvl1pPr>
            <a:lvl2pPr marL="325695" indent="-134110" algn="l" defTabSz="957925" rtl="0" eaLnBrk="1" latinLnBrk="0" hangingPunct="1">
              <a:lnSpc>
                <a:spcPct val="90000"/>
              </a:lnSpc>
              <a:spcBef>
                <a:spcPts val="943"/>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2pPr>
            <a:lvl3pPr marL="512905" indent="-188568" algn="l" defTabSz="957925" rtl="0" eaLnBrk="1" latinLnBrk="0" hangingPunct="1">
              <a:lnSpc>
                <a:spcPct val="90000"/>
              </a:lnSpc>
              <a:spcBef>
                <a:spcPts val="629"/>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3pPr>
            <a:lvl4pPr marL="663759" indent="-143689" algn="l" defTabSz="957925" rtl="0" eaLnBrk="1" latinLnBrk="0" hangingPunct="1">
              <a:lnSpc>
                <a:spcPct val="90000"/>
              </a:lnSpc>
              <a:spcBef>
                <a:spcPts val="210"/>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4pPr>
            <a:lvl5pPr marL="807071" indent="-143312" algn="l" defTabSz="957925" rtl="0" eaLnBrk="1" latinLnBrk="0" hangingPunct="1">
              <a:lnSpc>
                <a:spcPct val="90000"/>
              </a:lnSpc>
              <a:spcBef>
                <a:spcPts val="105"/>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5pPr>
            <a:lvl6pPr marL="2634295"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3258"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2220"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1183"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buNone/>
            </a:pPr>
            <a:endParaRPr lang="en-US" sz="1600" dirty="0"/>
          </a:p>
        </p:txBody>
      </p:sp>
      <p:sp>
        <p:nvSpPr>
          <p:cNvPr id="11" name="Text Placeholder 5">
            <a:extLst>
              <a:ext uri="{FF2B5EF4-FFF2-40B4-BE49-F238E27FC236}">
                <a16:creationId xmlns:a16="http://schemas.microsoft.com/office/drawing/2014/main" id="{764CAA05-6D02-8B43-8F7B-750CB636FE99}"/>
              </a:ext>
            </a:extLst>
          </p:cNvPr>
          <p:cNvSpPr txBox="1">
            <a:spLocks/>
          </p:cNvSpPr>
          <p:nvPr/>
        </p:nvSpPr>
        <p:spPr>
          <a:xfrm>
            <a:off x="380151" y="1587032"/>
            <a:ext cx="2555831" cy="4609483"/>
          </a:xfrm>
          <a:prstGeom prst="rect">
            <a:avLst/>
          </a:prstGeom>
          <a:ln w="12700">
            <a:solidFill>
              <a:schemeClr val="bg2"/>
            </a:solidFill>
          </a:ln>
        </p:spPr>
        <p:txBody>
          <a:bodyPr wrap="square" lIns="3600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85750" indent="-285750">
              <a:buClr>
                <a:srgbClr val="8E2929"/>
              </a:buClr>
              <a:buFont typeface="Wingdings" pitchFamily="2" charset="2"/>
              <a:buChar char="ü"/>
            </a:pPr>
            <a:r>
              <a:rPr lang="en-US" sz="2300" dirty="0">
                <a:solidFill>
                  <a:schemeClr val="tx1"/>
                </a:solidFill>
                <a:latin typeface="Palatino Linotype" panose="02040502050505030304" pitchFamily="18" charset="0"/>
              </a:rPr>
              <a:t>Plot the </a:t>
            </a:r>
            <a:r>
              <a:rPr lang="en-US" altLang="zh-CN" sz="2300" dirty="0">
                <a:solidFill>
                  <a:schemeClr val="tx1"/>
                </a:solidFill>
                <a:latin typeface="Palatino Linotype" panose="02040502050505030304" pitchFamily="18" charset="0"/>
              </a:rPr>
              <a:t>probability</a:t>
            </a:r>
            <a:r>
              <a:rPr lang="zh-CN" altLang="en-US" sz="2300" dirty="0">
                <a:solidFill>
                  <a:schemeClr val="tx1"/>
                </a:solidFill>
                <a:latin typeface="Palatino Linotype" panose="02040502050505030304" pitchFamily="18" charset="0"/>
              </a:rPr>
              <a:t> </a:t>
            </a:r>
            <a:r>
              <a:rPr lang="en-US" altLang="zh-CN" sz="2300" dirty="0">
                <a:solidFill>
                  <a:schemeClr val="tx1"/>
                </a:solidFill>
                <a:latin typeface="Palatino Linotype" panose="02040502050505030304" pitchFamily="18" charset="0"/>
              </a:rPr>
              <a:t>density</a:t>
            </a:r>
            <a:r>
              <a:rPr lang="zh-CN" altLang="en-US" sz="2300" dirty="0">
                <a:solidFill>
                  <a:schemeClr val="tx1"/>
                </a:solidFill>
                <a:latin typeface="Palatino Linotype" panose="02040502050505030304" pitchFamily="18" charset="0"/>
              </a:rPr>
              <a:t> </a:t>
            </a:r>
            <a:r>
              <a:rPr lang="en-US" altLang="zh-CN" sz="2300" dirty="0">
                <a:solidFill>
                  <a:schemeClr val="tx1"/>
                </a:solidFill>
                <a:latin typeface="Palatino Linotype" panose="02040502050505030304" pitchFamily="18" charset="0"/>
              </a:rPr>
              <a:t>of</a:t>
            </a:r>
            <a:r>
              <a:rPr lang="zh-CN" altLang="en-US" sz="2300" dirty="0">
                <a:solidFill>
                  <a:schemeClr val="tx1"/>
                </a:solidFill>
                <a:latin typeface="Palatino Linotype" panose="02040502050505030304" pitchFamily="18" charset="0"/>
              </a:rPr>
              <a:t> </a:t>
            </a:r>
            <a:r>
              <a:rPr lang="en-US" altLang="zh-CN" sz="2300" dirty="0">
                <a:solidFill>
                  <a:schemeClr val="tx1"/>
                </a:solidFill>
                <a:latin typeface="Palatino Linotype" panose="02040502050505030304" pitchFamily="18" charset="0"/>
              </a:rPr>
              <a:t>total</a:t>
            </a:r>
            <a:r>
              <a:rPr lang="zh-CN" altLang="en-US" sz="2300" dirty="0">
                <a:solidFill>
                  <a:schemeClr val="tx1"/>
                </a:solidFill>
                <a:latin typeface="Palatino Linotype" panose="02040502050505030304" pitchFamily="18" charset="0"/>
              </a:rPr>
              <a:t> </a:t>
            </a:r>
            <a:r>
              <a:rPr lang="en-US" altLang="zh-CN" sz="2300" dirty="0">
                <a:solidFill>
                  <a:schemeClr val="tx1"/>
                </a:solidFill>
                <a:latin typeface="Palatino Linotype" panose="02040502050505030304" pitchFamily="18" charset="0"/>
              </a:rPr>
              <a:t>purchase</a:t>
            </a:r>
            <a:r>
              <a:rPr lang="zh-CN" altLang="en-US" sz="2300" dirty="0">
                <a:solidFill>
                  <a:schemeClr val="tx1"/>
                </a:solidFill>
                <a:latin typeface="Palatino Linotype" panose="02040502050505030304" pitchFamily="18" charset="0"/>
              </a:rPr>
              <a:t> </a:t>
            </a:r>
            <a:r>
              <a:rPr lang="en-US" altLang="zh-CN" sz="2300" dirty="0">
                <a:solidFill>
                  <a:schemeClr val="tx1"/>
                </a:solidFill>
                <a:latin typeface="Palatino Linotype" panose="02040502050505030304" pitchFamily="18" charset="0"/>
              </a:rPr>
              <a:t>&amp;</a:t>
            </a:r>
            <a:r>
              <a:rPr lang="zh-CN" altLang="en-US" sz="2300" dirty="0">
                <a:solidFill>
                  <a:schemeClr val="tx1"/>
                </a:solidFill>
                <a:latin typeface="Palatino Linotype" panose="02040502050505030304" pitchFamily="18" charset="0"/>
              </a:rPr>
              <a:t> </a:t>
            </a:r>
            <a:r>
              <a:rPr lang="en-US" altLang="zh-CN" sz="2300" dirty="0">
                <a:solidFill>
                  <a:schemeClr val="tx1"/>
                </a:solidFill>
                <a:latin typeface="Palatino Linotype" panose="02040502050505030304" pitchFamily="18" charset="0"/>
              </a:rPr>
              <a:t>redeem</a:t>
            </a:r>
            <a:r>
              <a:rPr lang="zh-CN" altLang="en-US" sz="2300" dirty="0">
                <a:solidFill>
                  <a:schemeClr val="tx1"/>
                </a:solidFill>
                <a:latin typeface="Palatino Linotype" panose="02040502050505030304" pitchFamily="18" charset="0"/>
              </a:rPr>
              <a:t> </a:t>
            </a:r>
            <a:r>
              <a:rPr lang="en-US" altLang="zh-CN" sz="2300" dirty="0">
                <a:solidFill>
                  <a:schemeClr val="tx1"/>
                </a:solidFill>
                <a:latin typeface="Palatino Linotype" panose="02040502050505030304" pitchFamily="18" charset="0"/>
              </a:rPr>
              <a:t>amount</a:t>
            </a:r>
            <a:r>
              <a:rPr lang="zh-CN" altLang="en-US" sz="2300" dirty="0">
                <a:solidFill>
                  <a:schemeClr val="tx1"/>
                </a:solidFill>
                <a:latin typeface="Palatino Linotype" panose="02040502050505030304" pitchFamily="18" charset="0"/>
              </a:rPr>
              <a:t> </a:t>
            </a:r>
            <a:r>
              <a:rPr lang="en-US" altLang="zh-CN" sz="2300" dirty="0">
                <a:solidFill>
                  <a:schemeClr val="tx1"/>
                </a:solidFill>
                <a:latin typeface="Palatino Linotype" panose="02040502050505030304" pitchFamily="18" charset="0"/>
              </a:rPr>
              <a:t>from</a:t>
            </a:r>
            <a:r>
              <a:rPr lang="zh-CN" altLang="en-US" sz="2300" dirty="0">
                <a:solidFill>
                  <a:schemeClr val="tx1"/>
                </a:solidFill>
                <a:latin typeface="Palatino Linotype" panose="02040502050505030304" pitchFamily="18" charset="0"/>
              </a:rPr>
              <a:t> </a:t>
            </a:r>
            <a:r>
              <a:rPr lang="en-US" altLang="zh-CN" sz="2300" dirty="0">
                <a:solidFill>
                  <a:schemeClr val="tx1"/>
                </a:solidFill>
                <a:latin typeface="Palatino Linotype" panose="02040502050505030304" pitchFamily="18" charset="0"/>
              </a:rPr>
              <a:t>May.14</a:t>
            </a:r>
            <a:r>
              <a:rPr lang="zh-CN" altLang="en-US" sz="2300" dirty="0">
                <a:solidFill>
                  <a:schemeClr val="tx1"/>
                </a:solidFill>
                <a:latin typeface="Palatino Linotype" panose="02040502050505030304" pitchFamily="18" charset="0"/>
              </a:rPr>
              <a:t> </a:t>
            </a:r>
            <a:r>
              <a:rPr lang="en-US" altLang="zh-CN" sz="2300" dirty="0">
                <a:solidFill>
                  <a:schemeClr val="tx1"/>
                </a:solidFill>
                <a:latin typeface="Palatino Linotype" panose="02040502050505030304" pitchFamily="18" charset="0"/>
              </a:rPr>
              <a:t>to</a:t>
            </a:r>
            <a:r>
              <a:rPr lang="zh-CN" altLang="en-US" sz="2300" dirty="0">
                <a:solidFill>
                  <a:schemeClr val="tx1"/>
                </a:solidFill>
                <a:latin typeface="Palatino Linotype" panose="02040502050505030304" pitchFamily="18" charset="0"/>
              </a:rPr>
              <a:t> </a:t>
            </a:r>
            <a:r>
              <a:rPr lang="en-US" altLang="zh-CN" sz="2300" dirty="0">
                <a:solidFill>
                  <a:schemeClr val="tx1"/>
                </a:solidFill>
                <a:latin typeface="Palatino Linotype" panose="02040502050505030304" pitchFamily="18" charset="0"/>
              </a:rPr>
              <a:t>August.14</a:t>
            </a:r>
            <a:endParaRPr lang="en-US" sz="2300" dirty="0">
              <a:solidFill>
                <a:schemeClr val="tx1"/>
              </a:solidFill>
              <a:latin typeface="Palatino Linotype" panose="02040502050505030304" pitchFamily="18" charset="0"/>
            </a:endParaRPr>
          </a:p>
          <a:p>
            <a:endParaRPr lang="en-US" sz="2300" dirty="0">
              <a:solidFill>
                <a:schemeClr val="tx1"/>
              </a:solidFill>
              <a:latin typeface="Palatino Linotype" panose="02040502050505030304" pitchFamily="18" charset="0"/>
            </a:endParaRPr>
          </a:p>
          <a:p>
            <a:endParaRPr lang="en-US" sz="2300" dirty="0">
              <a:solidFill>
                <a:schemeClr val="tx1"/>
              </a:solidFill>
              <a:latin typeface="Palatino Linotype" panose="02040502050505030304" pitchFamily="18" charset="0"/>
            </a:endParaRPr>
          </a:p>
          <a:p>
            <a:pPr marL="285750" indent="-285750">
              <a:buClr>
                <a:srgbClr val="8E2929"/>
              </a:buClr>
              <a:buFont typeface="Wingdings" pitchFamily="2" charset="2"/>
              <a:buChar char="ü"/>
            </a:pPr>
            <a:r>
              <a:rPr lang="en-US" altLang="zh-CN" sz="2300" dirty="0">
                <a:solidFill>
                  <a:schemeClr val="tx1"/>
                </a:solidFill>
                <a:latin typeface="Palatino Linotype" panose="02040502050505030304" pitchFamily="18" charset="0"/>
              </a:rPr>
              <a:t>Add</a:t>
            </a:r>
            <a:r>
              <a:rPr lang="zh-CN" altLang="en-US" sz="2300" dirty="0">
                <a:solidFill>
                  <a:schemeClr val="tx1"/>
                </a:solidFill>
                <a:latin typeface="Palatino Linotype" panose="02040502050505030304" pitchFamily="18" charset="0"/>
              </a:rPr>
              <a:t> </a:t>
            </a:r>
            <a:r>
              <a:rPr lang="en-US" sz="2300" dirty="0">
                <a:solidFill>
                  <a:schemeClr val="tx1"/>
                </a:solidFill>
                <a:latin typeface="Palatino Linotype" panose="02040502050505030304" pitchFamily="18" charset="0"/>
              </a:rPr>
              <a:t>monthly features for analysis</a:t>
            </a:r>
          </a:p>
          <a:p>
            <a:endParaRPr lang="en-US" sz="1800" dirty="0">
              <a:solidFill>
                <a:schemeClr val="tx1"/>
              </a:solidFill>
              <a:latin typeface="Palatino Linotype" panose="02040502050505030304" pitchFamily="18" charset="0"/>
            </a:endParaRPr>
          </a:p>
        </p:txBody>
      </p:sp>
      <p:sp>
        <p:nvSpPr>
          <p:cNvPr id="12" name="Text Box 10">
            <a:extLst>
              <a:ext uri="{FF2B5EF4-FFF2-40B4-BE49-F238E27FC236}">
                <a16:creationId xmlns:a16="http://schemas.microsoft.com/office/drawing/2014/main" id="{66E11E02-5AED-934C-B386-99B77709989B}"/>
              </a:ext>
            </a:extLst>
          </p:cNvPr>
          <p:cNvSpPr txBox="1">
            <a:spLocks noChangeArrowheads="1"/>
          </p:cNvSpPr>
          <p:nvPr>
            <p:custDataLst>
              <p:tags r:id="rId1"/>
            </p:custDataLst>
          </p:nvPr>
        </p:nvSpPr>
        <p:spPr bwMode="auto">
          <a:xfrm>
            <a:off x="379698" y="1269554"/>
            <a:ext cx="2555831" cy="318251"/>
          </a:xfrm>
          <a:prstGeom prst="rect">
            <a:avLst/>
          </a:prstGeom>
          <a:solidFill>
            <a:schemeClr val="bg2"/>
          </a:solidFill>
          <a:ln w="12700" algn="ctr">
            <a:solidFill>
              <a:schemeClr val="bg2"/>
            </a:solidFill>
            <a:miter lim="800000"/>
            <a:headEnd/>
            <a:tailEnd type="none" w="sm" len="med"/>
          </a:ln>
        </p:spPr>
        <p:txBody>
          <a:bodyPr lIns="36000" tIns="36000" rIns="36000" bIns="36000" anchor="ctr" anchorCtr="1"/>
          <a:lstStyle/>
          <a:p>
            <a:pPr algn="ctr" defTabSz="957263"/>
            <a:endParaRPr lang="en-US" sz="1400" b="1" dirty="0">
              <a:solidFill>
                <a:schemeClr val="bg1"/>
              </a:solidFill>
              <a:latin typeface="Palatino Linotype" panose="02040502050505030304" pitchFamily="18" charset="0"/>
            </a:endParaRPr>
          </a:p>
        </p:txBody>
      </p:sp>
      <p:pic>
        <p:nvPicPr>
          <p:cNvPr id="5" name="图片 4">
            <a:extLst>
              <a:ext uri="{FF2B5EF4-FFF2-40B4-BE49-F238E27FC236}">
                <a16:creationId xmlns:a16="http://schemas.microsoft.com/office/drawing/2014/main" id="{A0200ABD-843D-A94D-AD9D-90060D4146BC}"/>
              </a:ext>
            </a:extLst>
          </p:cNvPr>
          <p:cNvPicPr>
            <a:picLocks noChangeAspect="1"/>
          </p:cNvPicPr>
          <p:nvPr/>
        </p:nvPicPr>
        <p:blipFill rotWithShape="1">
          <a:blip r:embed="rId3">
            <a:extLst>
              <a:ext uri="{28A0092B-C50C-407E-A947-70E740481C1C}">
                <a14:useLocalDpi xmlns:a14="http://schemas.microsoft.com/office/drawing/2010/main" val="0"/>
              </a:ext>
            </a:extLst>
          </a:blip>
          <a:srcRect l="7060" t="8461" r="7638" b="4988"/>
          <a:stretch/>
        </p:blipFill>
        <p:spPr>
          <a:xfrm>
            <a:off x="3043994" y="1132063"/>
            <a:ext cx="6336928" cy="5358071"/>
          </a:xfrm>
          <a:prstGeom prst="rect">
            <a:avLst/>
          </a:prstGeom>
        </p:spPr>
      </p:pic>
    </p:spTree>
    <p:extLst>
      <p:ext uri="{BB962C8B-B14F-4D97-AF65-F5344CB8AC3E}">
        <p14:creationId xmlns:p14="http://schemas.microsoft.com/office/powerpoint/2010/main" val="9003142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dirty="0"/>
              <a:t>Holiday</a:t>
            </a:r>
            <a:r>
              <a:rPr lang="zh-CN" altLang="en-US" dirty="0"/>
              <a:t> </a:t>
            </a:r>
            <a:r>
              <a:rPr lang="en-US" altLang="zh-CN" dirty="0"/>
              <a:t>Features</a:t>
            </a:r>
            <a:endParaRPr lang="en-US" dirty="0"/>
          </a:p>
        </p:txBody>
      </p:sp>
      <p:sp>
        <p:nvSpPr>
          <p:cNvPr id="4" name="Text Box 10"/>
          <p:cNvSpPr txBox="1">
            <a:spLocks noChangeArrowheads="1"/>
          </p:cNvSpPr>
          <p:nvPr>
            <p:custDataLst>
              <p:tags r:id="rId1"/>
            </p:custDataLst>
          </p:nvPr>
        </p:nvSpPr>
        <p:spPr bwMode="auto">
          <a:xfrm>
            <a:off x="450849" y="1845618"/>
            <a:ext cx="5617481" cy="249678"/>
          </a:xfrm>
          <a:prstGeom prst="rect">
            <a:avLst/>
          </a:prstGeom>
          <a:solidFill>
            <a:schemeClr val="bg2"/>
          </a:solidFill>
          <a:ln w="12700" algn="ctr">
            <a:solidFill>
              <a:schemeClr val="bg2"/>
            </a:solidFill>
            <a:miter lim="800000"/>
            <a:headEnd/>
            <a:tailEnd type="none" w="sm" len="med"/>
          </a:ln>
        </p:spPr>
        <p:txBody>
          <a:bodyPr lIns="36000" tIns="36000" rIns="36000" bIns="36000" anchor="ctr" anchorCtr="1"/>
          <a:lstStyle/>
          <a:p>
            <a:pPr algn="ctr" defTabSz="957263"/>
            <a:r>
              <a:rPr lang="en-US" altLang="zh-CN" sz="1800" b="1" dirty="0">
                <a:solidFill>
                  <a:schemeClr val="bg1"/>
                </a:solidFill>
                <a:latin typeface="Palatino Linotype" panose="02040502050505030304" pitchFamily="18" charset="0"/>
              </a:rPr>
              <a:t>The</a:t>
            </a:r>
            <a:r>
              <a:rPr lang="zh-CN" altLang="en-US" sz="1800" b="1" dirty="0">
                <a:solidFill>
                  <a:schemeClr val="bg1"/>
                </a:solidFill>
                <a:latin typeface="Palatino Linotype" panose="02040502050505030304" pitchFamily="18" charset="0"/>
              </a:rPr>
              <a:t> </a:t>
            </a:r>
            <a:r>
              <a:rPr lang="en-US" altLang="zh-CN" sz="1800" b="1" dirty="0">
                <a:solidFill>
                  <a:schemeClr val="bg1"/>
                </a:solidFill>
                <a:latin typeface="Palatino Linotype" panose="02040502050505030304" pitchFamily="18" charset="0"/>
              </a:rPr>
              <a:t>average</a:t>
            </a:r>
            <a:r>
              <a:rPr lang="zh-CN" altLang="en-US" sz="1800" b="1" dirty="0">
                <a:solidFill>
                  <a:schemeClr val="bg1"/>
                </a:solidFill>
                <a:latin typeface="Palatino Linotype" panose="02040502050505030304" pitchFamily="18" charset="0"/>
              </a:rPr>
              <a:t> </a:t>
            </a:r>
            <a:r>
              <a:rPr lang="en-US" altLang="zh-CN" sz="1800" b="1" dirty="0">
                <a:solidFill>
                  <a:schemeClr val="bg1"/>
                </a:solidFill>
                <a:latin typeface="Palatino Linotype" panose="02040502050505030304" pitchFamily="18" charset="0"/>
              </a:rPr>
              <a:t>of</a:t>
            </a:r>
            <a:r>
              <a:rPr lang="zh-CN" altLang="en-US" sz="1800" b="1" dirty="0">
                <a:solidFill>
                  <a:schemeClr val="bg1"/>
                </a:solidFill>
                <a:latin typeface="Palatino Linotype" panose="02040502050505030304" pitchFamily="18" charset="0"/>
              </a:rPr>
              <a:t> </a:t>
            </a:r>
            <a:r>
              <a:rPr lang="en-US" altLang="zh-CN" sz="1800" b="1" dirty="0">
                <a:solidFill>
                  <a:schemeClr val="bg1"/>
                </a:solidFill>
                <a:latin typeface="Palatino Linotype" panose="02040502050505030304" pitchFamily="18" charset="0"/>
              </a:rPr>
              <a:t>different</a:t>
            </a:r>
            <a:r>
              <a:rPr lang="zh-CN" altLang="en-US" sz="1800" b="1" dirty="0">
                <a:solidFill>
                  <a:schemeClr val="bg1"/>
                </a:solidFill>
                <a:latin typeface="Palatino Linotype" panose="02040502050505030304" pitchFamily="18" charset="0"/>
              </a:rPr>
              <a:t> </a:t>
            </a:r>
            <a:r>
              <a:rPr lang="en-US" altLang="zh-CN" sz="1800" b="1" dirty="0">
                <a:solidFill>
                  <a:schemeClr val="bg1"/>
                </a:solidFill>
                <a:latin typeface="Palatino Linotype" panose="02040502050505030304" pitchFamily="18" charset="0"/>
              </a:rPr>
              <a:t>holiday</a:t>
            </a:r>
            <a:endParaRPr lang="en-US" sz="1800" b="1" dirty="0">
              <a:solidFill>
                <a:schemeClr val="bg1"/>
              </a:solidFill>
              <a:latin typeface="Palatino Linotype" panose="02040502050505030304" pitchFamily="18" charset="0"/>
            </a:endParaRPr>
          </a:p>
        </p:txBody>
      </p:sp>
      <p:sp>
        <p:nvSpPr>
          <p:cNvPr id="5" name="Text Placeholder 5"/>
          <p:cNvSpPr txBox="1">
            <a:spLocks/>
          </p:cNvSpPr>
          <p:nvPr/>
        </p:nvSpPr>
        <p:spPr>
          <a:xfrm>
            <a:off x="450848" y="2095298"/>
            <a:ext cx="5617482" cy="3888432"/>
          </a:xfrm>
          <a:prstGeom prst="rect">
            <a:avLst/>
          </a:prstGeom>
          <a:ln w="12700">
            <a:solidFill>
              <a:schemeClr val="bg2"/>
            </a:solidFill>
          </a:ln>
        </p:spPr>
        <p:txBody>
          <a:bodyPr wrap="square" lIns="3600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endParaRPr lang="en-US" dirty="0">
              <a:solidFill>
                <a:schemeClr val="tx1"/>
              </a:solidFill>
              <a:latin typeface="Palatino Linotype" panose="02040502050505030304" pitchFamily="18" charset="0"/>
            </a:endParaRPr>
          </a:p>
        </p:txBody>
      </p:sp>
      <p:sp>
        <p:nvSpPr>
          <p:cNvPr id="16" name="Text Placeholder 5"/>
          <p:cNvSpPr txBox="1">
            <a:spLocks/>
          </p:cNvSpPr>
          <p:nvPr/>
        </p:nvSpPr>
        <p:spPr>
          <a:xfrm>
            <a:off x="6428369" y="1700830"/>
            <a:ext cx="2990009" cy="4645288"/>
          </a:xfrm>
          <a:prstGeom prst="rect">
            <a:avLst/>
          </a:prstGeom>
          <a:ln w="12700">
            <a:solidFill>
              <a:schemeClr val="bg2"/>
            </a:solidFill>
          </a:ln>
        </p:spPr>
        <p:txBody>
          <a:bodyPr wrap="square" lIns="3600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85750" indent="-285750">
              <a:buClr>
                <a:srgbClr val="8E2929"/>
              </a:buClr>
              <a:buFont typeface="Wingdings" pitchFamily="2" charset="2"/>
              <a:buChar char="ü"/>
            </a:pPr>
            <a:r>
              <a:rPr lang="en-US" altLang="zh-CN" sz="2300" dirty="0">
                <a:solidFill>
                  <a:schemeClr val="tx1"/>
                </a:solidFill>
                <a:latin typeface="Palatino Linotype" panose="02040502050505030304" pitchFamily="18" charset="0"/>
              </a:rPr>
              <a:t>Comparing</a:t>
            </a:r>
            <a:r>
              <a:rPr lang="zh-CN" altLang="en-US" sz="2300" dirty="0">
                <a:solidFill>
                  <a:schemeClr val="tx1"/>
                </a:solidFill>
                <a:latin typeface="Palatino Linotype" panose="02040502050505030304" pitchFamily="18" charset="0"/>
              </a:rPr>
              <a:t> </a:t>
            </a:r>
            <a:r>
              <a:rPr lang="en-US" sz="2300" dirty="0">
                <a:solidFill>
                  <a:schemeClr val="tx1"/>
                </a:solidFill>
                <a:latin typeface="Palatino Linotype" panose="02040502050505030304" pitchFamily="18" charset="0"/>
              </a:rPr>
              <a:t>the number of purchase </a:t>
            </a:r>
            <a:r>
              <a:rPr lang="en-US" altLang="zh-CN" sz="2300" dirty="0">
                <a:solidFill>
                  <a:schemeClr val="tx1"/>
                </a:solidFill>
                <a:latin typeface="Palatino Linotype" panose="02040502050505030304" pitchFamily="18" charset="0"/>
              </a:rPr>
              <a:t>&amp;</a:t>
            </a:r>
            <a:r>
              <a:rPr lang="en-US" sz="2300" dirty="0">
                <a:solidFill>
                  <a:schemeClr val="tx1"/>
                </a:solidFill>
                <a:latin typeface="Palatino Linotype" panose="02040502050505030304" pitchFamily="18" charset="0"/>
              </a:rPr>
              <a:t> redemption</a:t>
            </a:r>
            <a:r>
              <a:rPr lang="zh-CN" altLang="en-US" sz="2300" dirty="0">
                <a:solidFill>
                  <a:schemeClr val="tx1"/>
                </a:solidFill>
                <a:latin typeface="Palatino Linotype" panose="02040502050505030304" pitchFamily="18" charset="0"/>
              </a:rPr>
              <a:t> </a:t>
            </a:r>
            <a:r>
              <a:rPr lang="en-US" altLang="zh-CN" sz="2300" dirty="0">
                <a:solidFill>
                  <a:schemeClr val="tx1"/>
                </a:solidFill>
                <a:latin typeface="Palatino Linotype" panose="02040502050505030304" pitchFamily="18" charset="0"/>
              </a:rPr>
              <a:t>between</a:t>
            </a:r>
            <a:r>
              <a:rPr lang="zh-CN" altLang="en-US" sz="2300" dirty="0">
                <a:solidFill>
                  <a:schemeClr val="tx1"/>
                </a:solidFill>
                <a:latin typeface="Palatino Linotype" panose="02040502050505030304" pitchFamily="18" charset="0"/>
              </a:rPr>
              <a:t> </a:t>
            </a:r>
            <a:r>
              <a:rPr lang="en-US" altLang="zh-CN" sz="2300" dirty="0">
                <a:solidFill>
                  <a:schemeClr val="tx1"/>
                </a:solidFill>
                <a:latin typeface="Palatino Linotype" panose="02040502050505030304" pitchFamily="18" charset="0"/>
              </a:rPr>
              <a:t>holidays</a:t>
            </a:r>
            <a:r>
              <a:rPr lang="en-US" sz="2300" dirty="0">
                <a:solidFill>
                  <a:schemeClr val="tx1"/>
                </a:solidFill>
                <a:latin typeface="Palatino Linotype" panose="02040502050505030304" pitchFamily="18" charset="0"/>
              </a:rPr>
              <a:t> and</a:t>
            </a:r>
            <a:r>
              <a:rPr lang="zh-CN" altLang="en-US" sz="2300" dirty="0">
                <a:solidFill>
                  <a:schemeClr val="tx1"/>
                </a:solidFill>
                <a:latin typeface="Palatino Linotype" panose="02040502050505030304" pitchFamily="18" charset="0"/>
              </a:rPr>
              <a:t> </a:t>
            </a:r>
            <a:r>
              <a:rPr lang="en-US" altLang="zh-CN" sz="2300" dirty="0">
                <a:solidFill>
                  <a:schemeClr val="tx1"/>
                </a:solidFill>
                <a:latin typeface="Palatino Linotype" panose="02040502050505030304" pitchFamily="18" charset="0"/>
              </a:rPr>
              <a:t>mean</a:t>
            </a:r>
            <a:endParaRPr lang="en-US" sz="2300" dirty="0">
              <a:solidFill>
                <a:schemeClr val="tx1"/>
              </a:solidFill>
              <a:latin typeface="Palatino Linotype" panose="02040502050505030304" pitchFamily="18" charset="0"/>
            </a:endParaRPr>
          </a:p>
          <a:p>
            <a:endParaRPr lang="en-US" sz="2300" dirty="0">
              <a:solidFill>
                <a:schemeClr val="tx1"/>
              </a:solidFill>
              <a:latin typeface="Palatino Linotype" panose="02040502050505030304" pitchFamily="18" charset="0"/>
            </a:endParaRPr>
          </a:p>
          <a:p>
            <a:pPr marL="285750" indent="-285750">
              <a:buClr>
                <a:srgbClr val="8E2929"/>
              </a:buClr>
              <a:buFont typeface="Wingdings" pitchFamily="2" charset="2"/>
              <a:buChar char="ü"/>
            </a:pPr>
            <a:r>
              <a:rPr lang="en-US" altLang="zh-CN" sz="2300" dirty="0">
                <a:solidFill>
                  <a:schemeClr val="tx1"/>
                </a:solidFill>
                <a:latin typeface="Palatino Linotype" panose="02040502050505030304" pitchFamily="18" charset="0"/>
              </a:rPr>
              <a:t>For time series</a:t>
            </a:r>
          </a:p>
          <a:p>
            <a:pPr marL="522900" lvl="1" indent="-342900">
              <a:buClr>
                <a:srgbClr val="8E2929"/>
              </a:buClr>
              <a:buFont typeface="Wingdings" pitchFamily="2" charset="2"/>
              <a:buChar char="Ø"/>
            </a:pPr>
            <a:r>
              <a:rPr lang="en-US" altLang="zh-CN" sz="2300" dirty="0">
                <a:solidFill>
                  <a:schemeClr val="tx1"/>
                </a:solidFill>
                <a:latin typeface="Palatino Linotype" panose="02040502050505030304" pitchFamily="18" charset="0"/>
              </a:rPr>
              <a:t> “is” feature based on date static feature </a:t>
            </a:r>
          </a:p>
          <a:p>
            <a:pPr marL="522900" lvl="1" indent="-342900">
              <a:buClr>
                <a:srgbClr val="8E2929"/>
              </a:buClr>
              <a:buFont typeface="Wingdings" pitchFamily="2" charset="2"/>
              <a:buChar char="Ø"/>
            </a:pPr>
            <a:r>
              <a:rPr lang="en-US" altLang="zh-CN" sz="2300" dirty="0">
                <a:solidFill>
                  <a:schemeClr val="tx1"/>
                </a:solidFill>
                <a:latin typeface="Palatino Linotype" panose="02040502050505030304" pitchFamily="18" charset="0"/>
              </a:rPr>
              <a:t>“distance” feature</a:t>
            </a:r>
            <a:endParaRPr lang="en-US" sz="2300" dirty="0">
              <a:solidFill>
                <a:schemeClr val="tx1"/>
              </a:solidFill>
              <a:latin typeface="Palatino Linotype" panose="02040502050505030304" pitchFamily="18" charset="0"/>
            </a:endParaRPr>
          </a:p>
        </p:txBody>
      </p:sp>
      <p:sp>
        <p:nvSpPr>
          <p:cNvPr id="14" name="Text Box 10">
            <a:extLst>
              <a:ext uri="{FF2B5EF4-FFF2-40B4-BE49-F238E27FC236}">
                <a16:creationId xmlns:a16="http://schemas.microsoft.com/office/drawing/2014/main" id="{702CC012-5566-A44D-999E-A229901E032C}"/>
              </a:ext>
            </a:extLst>
          </p:cNvPr>
          <p:cNvSpPr txBox="1">
            <a:spLocks noChangeArrowheads="1"/>
          </p:cNvSpPr>
          <p:nvPr>
            <p:custDataLst>
              <p:tags r:id="rId2"/>
            </p:custDataLst>
          </p:nvPr>
        </p:nvSpPr>
        <p:spPr bwMode="auto">
          <a:xfrm>
            <a:off x="6427123" y="1449574"/>
            <a:ext cx="2990009" cy="249678"/>
          </a:xfrm>
          <a:prstGeom prst="rect">
            <a:avLst/>
          </a:prstGeom>
          <a:solidFill>
            <a:schemeClr val="bg2"/>
          </a:solidFill>
          <a:ln w="12700" algn="ctr">
            <a:solidFill>
              <a:schemeClr val="bg2"/>
            </a:solidFill>
            <a:miter lim="800000"/>
            <a:headEnd/>
            <a:tailEnd type="none" w="sm" len="med"/>
          </a:ln>
        </p:spPr>
        <p:txBody>
          <a:bodyPr lIns="36000" tIns="36000" rIns="36000" bIns="36000" anchor="ctr" anchorCtr="1"/>
          <a:lstStyle/>
          <a:p>
            <a:pPr algn="ctr" defTabSz="957263"/>
            <a:endParaRPr lang="en-US" sz="1400" b="1" dirty="0">
              <a:solidFill>
                <a:schemeClr val="bg1"/>
              </a:solidFill>
              <a:latin typeface="Palatino Linotype" panose="02040502050505030304" pitchFamily="18" charset="0"/>
            </a:endParaRPr>
          </a:p>
        </p:txBody>
      </p:sp>
      <p:pic>
        <p:nvPicPr>
          <p:cNvPr id="18" name="图片 17">
            <a:extLst>
              <a:ext uri="{FF2B5EF4-FFF2-40B4-BE49-F238E27FC236}">
                <a16:creationId xmlns:a16="http://schemas.microsoft.com/office/drawing/2014/main" id="{C35A425D-F6EB-8D44-AA05-B2DC1AA1E93D}"/>
              </a:ext>
            </a:extLst>
          </p:cNvPr>
          <p:cNvPicPr/>
          <p:nvPr/>
        </p:nvPicPr>
        <p:blipFill>
          <a:blip r:embed="rId5">
            <a:extLst>
              <a:ext uri="{28A0092B-C50C-407E-A947-70E740481C1C}">
                <a14:useLocalDpi xmlns:a14="http://schemas.microsoft.com/office/drawing/2010/main" val="0"/>
              </a:ext>
            </a:extLst>
          </a:blip>
          <a:stretch>
            <a:fillRect/>
          </a:stretch>
        </p:blipFill>
        <p:spPr>
          <a:xfrm>
            <a:off x="486035" y="2565698"/>
            <a:ext cx="5582293" cy="3024336"/>
          </a:xfrm>
          <a:prstGeom prst="rect">
            <a:avLst/>
          </a:prstGeom>
        </p:spPr>
      </p:pic>
    </p:spTree>
    <p:extLst>
      <p:ext uri="{BB962C8B-B14F-4D97-AF65-F5344CB8AC3E}">
        <p14:creationId xmlns:p14="http://schemas.microsoft.com/office/powerpoint/2010/main" val="30984077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标题 11"/>
          <p:cNvSpPr>
            <a:spLocks noGrp="1"/>
          </p:cNvSpPr>
          <p:nvPr>
            <p:ph type="ctrTitle"/>
          </p:nvPr>
        </p:nvSpPr>
        <p:spPr/>
        <p:txBody>
          <a:bodyPr/>
          <a:lstStyle/>
          <a:p>
            <a:endParaRPr lang="zh-CN" altLang="en-US" dirty="0">
              <a:latin typeface="Palatino Linotype" panose="02040502050505030304" pitchFamily="18" charset="0"/>
              <a:ea typeface="微软雅黑" panose="020B0503020204020204" pitchFamily="34" charset="-122"/>
              <a:sym typeface="Palatino Linotype" panose="02040502050505030304" pitchFamily="18" charset="0"/>
            </a:endParaRPr>
          </a:p>
        </p:txBody>
      </p:sp>
      <p:sp>
        <p:nvSpPr>
          <p:cNvPr id="13" name="副标题 12"/>
          <p:cNvSpPr>
            <a:spLocks noGrp="1"/>
          </p:cNvSpPr>
          <p:nvPr>
            <p:ph type="subTitle" idx="1"/>
          </p:nvPr>
        </p:nvSpPr>
        <p:spPr>
          <a:xfrm>
            <a:off x="265157" y="3065354"/>
            <a:ext cx="9361046" cy="263149"/>
          </a:xfrm>
        </p:spPr>
        <p:txBody>
          <a:bodyPr/>
          <a:lstStyle/>
          <a:p>
            <a:endParaRPr lang="zh-CN" altLang="en-US" dirty="0">
              <a:latin typeface="Palatino Linotype" panose="02040502050505030304" pitchFamily="18" charset="0"/>
              <a:ea typeface="微软雅黑" panose="020B0503020204020204" pitchFamily="34" charset="-122"/>
              <a:sym typeface="Palatino Linotype" panose="02040502050505030304" pitchFamily="18" charset="0"/>
            </a:endParaRPr>
          </a:p>
        </p:txBody>
      </p:sp>
      <p:grpSp>
        <p:nvGrpSpPr>
          <p:cNvPr id="42" name="组合 41"/>
          <p:cNvGrpSpPr/>
          <p:nvPr/>
        </p:nvGrpSpPr>
        <p:grpSpPr>
          <a:xfrm>
            <a:off x="0" y="2433247"/>
            <a:ext cx="9904095" cy="1965630"/>
            <a:chOff x="170694" y="177982"/>
            <a:chExt cx="3936004" cy="781165"/>
          </a:xfrm>
        </p:grpSpPr>
        <p:sp>
          <p:nvSpPr>
            <p:cNvPr id="44" name="等腰三角形 43"/>
            <p:cNvSpPr/>
            <p:nvPr/>
          </p:nvSpPr>
          <p:spPr>
            <a:xfrm>
              <a:off x="1233863" y="177982"/>
              <a:ext cx="355284" cy="356514"/>
            </a:xfrm>
            <a:prstGeom prst="triangl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4280" tIns="37140" rIns="74280" bIns="37140" rtlCol="0" anchor="ctr"/>
            <a:lstStyle/>
            <a:p>
              <a:pPr marL="0" marR="0" lvl="0" indent="0" algn="ctr" defTabSz="958215" rtl="0" eaLnBrk="1" fontAlgn="auto" latinLnBrk="0" hangingPunct="1">
                <a:lnSpc>
                  <a:spcPct val="100000"/>
                </a:lnSpc>
                <a:spcBef>
                  <a:spcPts val="0"/>
                </a:spcBef>
                <a:spcAft>
                  <a:spcPts val="0"/>
                </a:spcAft>
                <a:buClrTx/>
                <a:buSzTx/>
                <a:buFontTx/>
                <a:buNone/>
                <a:tabLst/>
                <a:defRPr/>
              </a:pPr>
              <a:endParaRPr kumimoji="0" lang="zh-CN" altLang="en-US" sz="2060" b="0" i="0" u="none" strike="noStrike" kern="1200" cap="none" spc="0" normalizeH="0" baseline="0" noProof="0">
                <a:ln>
                  <a:noFill/>
                </a:ln>
                <a:solidFill>
                  <a:srgbClr val="FFFFFF"/>
                </a:solidFill>
                <a:effectLst/>
                <a:uLnTx/>
                <a:uFillTx/>
                <a:latin typeface="Palatino Linotype" panose="02040502050505030304" pitchFamily="18" charset="0"/>
                <a:ea typeface="微软雅黑" panose="020B0503020204020204" pitchFamily="34" charset="-122"/>
                <a:sym typeface="Palatino Linotype" panose="02040502050505030304" pitchFamily="18" charset="0"/>
              </a:endParaRPr>
            </a:p>
          </p:txBody>
        </p:sp>
        <p:sp>
          <p:nvSpPr>
            <p:cNvPr id="45" name="等腰三角形 44"/>
            <p:cNvSpPr/>
            <p:nvPr/>
          </p:nvSpPr>
          <p:spPr>
            <a:xfrm flipV="1">
              <a:off x="200258" y="602633"/>
              <a:ext cx="355284" cy="356514"/>
            </a:xfrm>
            <a:prstGeom prst="triangl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4280" tIns="37140" rIns="74280" bIns="37140" rtlCol="0" anchor="ctr"/>
            <a:lstStyle/>
            <a:p>
              <a:pPr marL="0" marR="0" lvl="0" indent="0" algn="ctr" defTabSz="958215" rtl="0" eaLnBrk="1" fontAlgn="auto" latinLnBrk="0" hangingPunct="1">
                <a:lnSpc>
                  <a:spcPct val="100000"/>
                </a:lnSpc>
                <a:spcBef>
                  <a:spcPts val="0"/>
                </a:spcBef>
                <a:spcAft>
                  <a:spcPts val="0"/>
                </a:spcAft>
                <a:buClrTx/>
                <a:buSzTx/>
                <a:buFontTx/>
                <a:buNone/>
                <a:tabLst/>
                <a:defRPr/>
              </a:pPr>
              <a:endParaRPr kumimoji="0" lang="zh-CN" altLang="en-US" sz="2060" b="0" i="0" u="none" strike="noStrike" kern="1200" cap="none" spc="0" normalizeH="0" baseline="0" noProof="0">
                <a:ln>
                  <a:noFill/>
                </a:ln>
                <a:solidFill>
                  <a:srgbClr val="FFFFFF"/>
                </a:solidFill>
                <a:effectLst/>
                <a:uLnTx/>
                <a:uFillTx/>
                <a:latin typeface="Palatino Linotype" panose="02040502050505030304" pitchFamily="18" charset="0"/>
                <a:ea typeface="微软雅黑" panose="020B0503020204020204" pitchFamily="34" charset="-122"/>
                <a:sym typeface="Palatino Linotype" panose="02040502050505030304" pitchFamily="18" charset="0"/>
              </a:endParaRPr>
            </a:p>
          </p:txBody>
        </p:sp>
        <p:sp>
          <p:nvSpPr>
            <p:cNvPr id="46" name="矩形 45"/>
            <p:cNvSpPr/>
            <p:nvPr/>
          </p:nvSpPr>
          <p:spPr>
            <a:xfrm>
              <a:off x="170694" y="261768"/>
              <a:ext cx="3936004" cy="6119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4280" tIns="37140" rIns="74280" bIns="37140" rtlCol="0" anchor="ctr"/>
            <a:lstStyle/>
            <a:p>
              <a:pPr marL="0" marR="0" lvl="0" indent="0" algn="ctr" defTabSz="958215" rtl="0" eaLnBrk="1" fontAlgn="auto" latinLnBrk="0" hangingPunct="1">
                <a:lnSpc>
                  <a:spcPct val="100000"/>
                </a:lnSpc>
                <a:spcBef>
                  <a:spcPts val="0"/>
                </a:spcBef>
                <a:spcAft>
                  <a:spcPts val="0"/>
                </a:spcAft>
                <a:buClrTx/>
                <a:buSzTx/>
                <a:buFontTx/>
                <a:buNone/>
                <a:tabLst/>
                <a:defRPr/>
              </a:pPr>
              <a:endParaRPr kumimoji="0" lang="zh-CN" altLang="en-US" sz="2060" b="0" i="0" u="none" strike="noStrike" kern="1200" cap="none" spc="0" normalizeH="0" baseline="0" noProof="0">
                <a:ln>
                  <a:noFill/>
                </a:ln>
                <a:solidFill>
                  <a:srgbClr val="FFFFFF"/>
                </a:solidFill>
                <a:effectLst/>
                <a:uLnTx/>
                <a:uFillTx/>
                <a:latin typeface="Palatino Linotype" panose="02040502050505030304" pitchFamily="18" charset="0"/>
                <a:ea typeface="微软雅黑" panose="020B0503020204020204" pitchFamily="34" charset="-122"/>
                <a:sym typeface="Palatino Linotype" panose="02040502050505030304" pitchFamily="18" charset="0"/>
              </a:endParaRPr>
            </a:p>
          </p:txBody>
        </p:sp>
        <p:sp>
          <p:nvSpPr>
            <p:cNvPr id="47" name="平行四边形 46"/>
            <p:cNvSpPr/>
            <p:nvPr/>
          </p:nvSpPr>
          <p:spPr>
            <a:xfrm>
              <a:off x="376965" y="178257"/>
              <a:ext cx="1036076" cy="779005"/>
            </a:xfrm>
            <a:prstGeom prst="parallelogram">
              <a:avLst>
                <a:gd name="adj" fmla="val 48207"/>
              </a:avLst>
            </a:prstGeom>
            <a:solidFill>
              <a:srgbClr val="B42100"/>
            </a:solidFill>
            <a:ln>
              <a:noFill/>
            </a:ln>
          </p:spPr>
          <p:style>
            <a:lnRef idx="2">
              <a:schemeClr val="accent1">
                <a:shade val="50000"/>
              </a:schemeClr>
            </a:lnRef>
            <a:fillRef idx="1">
              <a:schemeClr val="accent1"/>
            </a:fillRef>
            <a:effectRef idx="0">
              <a:schemeClr val="accent1"/>
            </a:effectRef>
            <a:fontRef idx="minor">
              <a:schemeClr val="lt1"/>
            </a:fontRef>
          </p:style>
          <p:txBody>
            <a:bodyPr lIns="74280" tIns="37140" rIns="74280" bIns="37140" rtlCol="0" anchor="ctr"/>
            <a:lstStyle/>
            <a:p>
              <a:pPr marL="0" marR="0" lvl="0" indent="0" algn="ctr" defTabSz="958215" rtl="0" eaLnBrk="1" fontAlgn="auto" latinLnBrk="0" hangingPunct="1">
                <a:lnSpc>
                  <a:spcPct val="100000"/>
                </a:lnSpc>
                <a:spcBef>
                  <a:spcPts val="0"/>
                </a:spcBef>
                <a:spcAft>
                  <a:spcPts val="0"/>
                </a:spcAft>
                <a:buClrTx/>
                <a:buSzTx/>
                <a:buFontTx/>
                <a:buNone/>
                <a:tabLst/>
                <a:defRPr/>
              </a:pPr>
              <a:endParaRPr kumimoji="0" lang="zh-CN" altLang="en-US" sz="2060" b="0" i="0" u="none" strike="noStrike" kern="1200" cap="none" spc="0" normalizeH="0" baseline="0" noProof="0">
                <a:ln>
                  <a:noFill/>
                </a:ln>
                <a:solidFill>
                  <a:srgbClr val="FFFFFF"/>
                </a:solidFill>
                <a:effectLst/>
                <a:uLnTx/>
                <a:uFillTx/>
                <a:latin typeface="Palatino Linotype" panose="02040502050505030304" pitchFamily="18" charset="0"/>
                <a:ea typeface="微软雅黑" panose="020B0503020204020204" pitchFamily="34" charset="-122"/>
                <a:sym typeface="Palatino Linotype" panose="02040502050505030304" pitchFamily="18" charset="0"/>
              </a:endParaRPr>
            </a:p>
          </p:txBody>
        </p:sp>
        <p:sp>
          <p:nvSpPr>
            <p:cNvPr id="48" name="文本框 6"/>
            <p:cNvSpPr txBox="1"/>
            <p:nvPr/>
          </p:nvSpPr>
          <p:spPr>
            <a:xfrm>
              <a:off x="650907" y="284178"/>
              <a:ext cx="569115" cy="519065"/>
            </a:xfrm>
            <a:prstGeom prst="rect">
              <a:avLst/>
            </a:prstGeom>
            <a:noFill/>
          </p:spPr>
          <p:txBody>
            <a:bodyPr wrap="square" lIns="74280" tIns="37140" rIns="74280" bIns="37140" rtlCol="0">
              <a:spAutoFit/>
            </a:bodyPr>
            <a:lstStyle/>
            <a:p>
              <a:pPr marL="0" marR="0" lvl="0" indent="0" algn="l" defTabSz="958215" rtl="0" eaLnBrk="1" fontAlgn="auto" latinLnBrk="0" hangingPunct="1">
                <a:lnSpc>
                  <a:spcPct val="100000"/>
                </a:lnSpc>
                <a:spcBef>
                  <a:spcPts val="0"/>
                </a:spcBef>
                <a:spcAft>
                  <a:spcPts val="0"/>
                </a:spcAft>
                <a:buClrTx/>
                <a:buSzTx/>
                <a:buFontTx/>
                <a:buNone/>
                <a:tabLst/>
                <a:defRPr/>
              </a:pPr>
              <a:r>
                <a:rPr lang="en-US" altLang="zh-CN" sz="8000" dirty="0">
                  <a:solidFill>
                    <a:srgbClr val="FFFFFF">
                      <a:lumMod val="95000"/>
                    </a:srgbClr>
                  </a:solidFill>
                  <a:latin typeface="Palatino Linotype" panose="02040502050505030304" pitchFamily="18" charset="0"/>
                  <a:ea typeface="微软雅黑" panose="020B0503020204020204" pitchFamily="34" charset="-122"/>
                  <a:sym typeface="Palatino Linotype" panose="02040502050505030304" pitchFamily="18" charset="0"/>
                </a:rPr>
                <a:t>2.2</a:t>
              </a:r>
              <a:endParaRPr kumimoji="0" lang="zh-CN" altLang="en-US" sz="8000" b="0" i="0" u="none" strike="noStrike" kern="1200" cap="none" spc="0" normalizeH="0" baseline="0" noProof="0" dirty="0">
                <a:ln>
                  <a:noFill/>
                </a:ln>
                <a:solidFill>
                  <a:srgbClr val="FFFFFF">
                    <a:lumMod val="95000"/>
                  </a:srgbClr>
                </a:solidFill>
                <a:effectLst/>
                <a:uLnTx/>
                <a:uFillTx/>
                <a:latin typeface="Palatino Linotype" panose="02040502050505030304" pitchFamily="18" charset="0"/>
                <a:ea typeface="微软雅黑" panose="020B0503020204020204" pitchFamily="34" charset="-122"/>
                <a:sym typeface="Palatino Linotype" panose="02040502050505030304" pitchFamily="18" charset="0"/>
              </a:endParaRPr>
            </a:p>
          </p:txBody>
        </p:sp>
      </p:grpSp>
      <p:sp>
        <p:nvSpPr>
          <p:cNvPr id="49" name="TextBox 48"/>
          <p:cNvSpPr txBox="1"/>
          <p:nvPr/>
        </p:nvSpPr>
        <p:spPr>
          <a:xfrm>
            <a:off x="3143058" y="2787176"/>
            <a:ext cx="6740343" cy="752116"/>
          </a:xfrm>
          <a:prstGeom prst="rect">
            <a:avLst/>
          </a:prstGeom>
          <a:noFill/>
        </p:spPr>
        <p:txBody>
          <a:bodyPr wrap="square" lIns="74285" tIns="37141" rIns="74285" bIns="37141" rtlCol="0">
            <a:spAutoFit/>
          </a:bodyPr>
          <a:lstStyle/>
          <a:p>
            <a:pPr lvl="0">
              <a:defRPr/>
            </a:pPr>
            <a:r>
              <a:rPr lang="en" altLang="zh-CN" sz="4400" b="1" dirty="0">
                <a:solidFill>
                  <a:srgbClr val="000000">
                    <a:lumMod val="75000"/>
                    <a:lumOff val="25000"/>
                  </a:srgbClr>
                </a:solidFill>
                <a:latin typeface="Palatino Linotype" panose="02040502050505030304" pitchFamily="18" charset="0"/>
                <a:ea typeface="微软雅黑" panose="020B0503020204020204" pitchFamily="34" charset="-122"/>
                <a:sym typeface="Palatino Linotype" panose="02040502050505030304" pitchFamily="18" charset="0"/>
              </a:rPr>
              <a:t>Feature </a:t>
            </a:r>
            <a:r>
              <a:rPr lang="en-US" altLang="zh-CN" sz="4400" b="1" dirty="0">
                <a:solidFill>
                  <a:srgbClr val="000000">
                    <a:lumMod val="75000"/>
                    <a:lumOff val="25000"/>
                  </a:srgbClr>
                </a:solidFill>
                <a:latin typeface="Palatino Linotype" panose="02040502050505030304" pitchFamily="18" charset="0"/>
                <a:ea typeface="微软雅黑" panose="020B0503020204020204" pitchFamily="34" charset="-122"/>
                <a:sym typeface="Palatino Linotype" panose="02040502050505030304" pitchFamily="18" charset="0"/>
              </a:rPr>
              <a:t>Selection</a:t>
            </a:r>
            <a:endParaRPr lang="en" altLang="zh-CN" sz="4400" b="1" dirty="0">
              <a:solidFill>
                <a:srgbClr val="000000">
                  <a:lumMod val="75000"/>
                  <a:lumOff val="25000"/>
                </a:srgbClr>
              </a:solidFill>
              <a:latin typeface="Palatino Linotype" panose="02040502050505030304" pitchFamily="18" charset="0"/>
              <a:ea typeface="微软雅黑" panose="020B0503020204020204" pitchFamily="34" charset="-122"/>
              <a:sym typeface="Palatino Linotype" panose="02040502050505030304" pitchFamily="18" charset="0"/>
            </a:endParaRPr>
          </a:p>
        </p:txBody>
      </p:sp>
    </p:spTree>
    <p:extLst>
      <p:ext uri="{BB962C8B-B14F-4D97-AF65-F5344CB8AC3E}">
        <p14:creationId xmlns:p14="http://schemas.microsoft.com/office/powerpoint/2010/main" val="37613961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CDDB2F54-B6E8-471C-8FF6-9DC5D36A40DA}"/>
              </a:ext>
            </a:extLst>
          </p:cNvPr>
          <p:cNvSpPr>
            <a:spLocks noGrp="1"/>
          </p:cNvSpPr>
          <p:nvPr>
            <p:ph type="title"/>
          </p:nvPr>
        </p:nvSpPr>
        <p:spPr>
          <a:xfrm>
            <a:off x="955762" y="1161542"/>
            <a:ext cx="3283210" cy="611187"/>
          </a:xfrm>
          <a:prstGeom prst="rect">
            <a:avLst/>
          </a:prstGeom>
        </p:spPr>
        <p:txBody>
          <a:bodyPr>
            <a:normAutofit/>
          </a:bodyPr>
          <a:lstStyle/>
          <a:p>
            <a:r>
              <a:rPr lang="en-US" altLang="zh-CN" sz="4000" b="1" dirty="0">
                <a:solidFill>
                  <a:srgbClr val="9B1717"/>
                </a:solidFill>
              </a:rPr>
              <a:t>CONTENTS</a:t>
            </a:r>
            <a:endParaRPr lang="zh-CN" altLang="en-US" sz="4000" dirty="0">
              <a:solidFill>
                <a:srgbClr val="9B1717"/>
              </a:solidFill>
            </a:endParaRPr>
          </a:p>
        </p:txBody>
      </p:sp>
      <p:cxnSp>
        <p:nvCxnSpPr>
          <p:cNvPr id="6" name="直接连接符 5">
            <a:extLst>
              <a:ext uri="{FF2B5EF4-FFF2-40B4-BE49-F238E27FC236}">
                <a16:creationId xmlns:a16="http://schemas.microsoft.com/office/drawing/2014/main" id="{EB99BC0A-8F4F-4DF0-8626-598904F5443D}"/>
              </a:ext>
            </a:extLst>
          </p:cNvPr>
          <p:cNvCxnSpPr>
            <a:cxnSpLocks/>
          </p:cNvCxnSpPr>
          <p:nvPr/>
        </p:nvCxnSpPr>
        <p:spPr>
          <a:xfrm>
            <a:off x="992890" y="1804369"/>
            <a:ext cx="2880320" cy="0"/>
          </a:xfrm>
          <a:prstGeom prst="line">
            <a:avLst/>
          </a:prstGeom>
          <a:ln w="22225">
            <a:solidFill>
              <a:srgbClr val="9B1717"/>
            </a:solidFill>
          </a:ln>
        </p:spPr>
        <p:style>
          <a:lnRef idx="1">
            <a:schemeClr val="accent1"/>
          </a:lnRef>
          <a:fillRef idx="0">
            <a:schemeClr val="accent1"/>
          </a:fillRef>
          <a:effectRef idx="0">
            <a:schemeClr val="accent1"/>
          </a:effectRef>
          <a:fontRef idx="minor">
            <a:schemeClr val="tx1"/>
          </a:fontRef>
        </p:style>
      </p:cxnSp>
      <p:pic>
        <p:nvPicPr>
          <p:cNvPr id="91" name="Picture 2" descr="http://statics.phbs.pku.edu.cn/uploadfile/2017/1122/20171122092949636.png">
            <a:extLst>
              <a:ext uri="{FF2B5EF4-FFF2-40B4-BE49-F238E27FC236}">
                <a16:creationId xmlns:a16="http://schemas.microsoft.com/office/drawing/2014/main" id="{7A64A7D8-1E25-473E-ADC2-10A220B4294F}"/>
              </a:ext>
            </a:extLst>
          </p:cNvPr>
          <p:cNvPicPr>
            <a:picLocks noChangeAspect="1" noChangeArrowheads="1"/>
          </p:cNvPicPr>
          <p:nvPr/>
        </p:nvPicPr>
        <p:blipFill rotWithShape="1">
          <a:blip r:embed="rId3"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l="16631" t="26645" r="15215" b="28137"/>
          <a:stretch/>
        </p:blipFill>
        <p:spPr bwMode="auto">
          <a:xfrm>
            <a:off x="8336582" y="46842"/>
            <a:ext cx="1571882" cy="53761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Table 9">
            <a:extLst>
              <a:ext uri="{FF2B5EF4-FFF2-40B4-BE49-F238E27FC236}">
                <a16:creationId xmlns:a16="http://schemas.microsoft.com/office/drawing/2014/main" id="{31714935-D7C3-4011-BE5C-08B67382E753}"/>
              </a:ext>
            </a:extLst>
          </p:cNvPr>
          <p:cNvGraphicFramePr>
            <a:graphicFrameLocks noGrp="1"/>
          </p:cNvGraphicFramePr>
          <p:nvPr>
            <p:custDataLst>
              <p:tags r:id="rId1"/>
            </p:custDataLst>
            <p:extLst>
              <p:ext uri="{D42A27DB-BD31-4B8C-83A1-F6EECF244321}">
                <p14:modId xmlns:p14="http://schemas.microsoft.com/office/powerpoint/2010/main" val="197340878"/>
              </p:ext>
            </p:extLst>
          </p:nvPr>
        </p:nvGraphicFramePr>
        <p:xfrm>
          <a:off x="943805" y="2169654"/>
          <a:ext cx="6444716" cy="3413695"/>
        </p:xfrm>
        <a:graphic>
          <a:graphicData uri="http://schemas.openxmlformats.org/drawingml/2006/table">
            <a:tbl>
              <a:tblPr firstRow="1" bandRow="1">
                <a:tableStyleId>{5C22544A-7EE6-4342-B048-85BDC9FD1C3A}</a:tableStyleId>
              </a:tblPr>
              <a:tblGrid>
                <a:gridCol w="6444716">
                  <a:extLst>
                    <a:ext uri="{9D8B030D-6E8A-4147-A177-3AD203B41FA5}">
                      <a16:colId xmlns:a16="http://schemas.microsoft.com/office/drawing/2014/main" val="20000"/>
                    </a:ext>
                  </a:extLst>
                </a:gridCol>
              </a:tblGrid>
              <a:tr h="584798">
                <a:tc>
                  <a:txBody>
                    <a:bodyPr/>
                    <a:lstStyle/>
                    <a:p>
                      <a:pPr marL="0" marR="0" lvl="0" indent="0" algn="l" defTabSz="914400" rtl="0" eaLnBrk="1" fontAlgn="base" latinLnBrk="0" hangingPunct="1">
                        <a:lnSpc>
                          <a:spcPct val="150000"/>
                        </a:lnSpc>
                        <a:spcBef>
                          <a:spcPct val="0"/>
                        </a:spcBef>
                        <a:spcAft>
                          <a:spcPct val="0"/>
                        </a:spcAft>
                        <a:buClr>
                          <a:schemeClr val="tx1"/>
                        </a:buClr>
                        <a:buSzTx/>
                        <a:buFont typeface="Wingdings 2" pitchFamily="18" charset="2"/>
                        <a:buNone/>
                        <a:tabLst/>
                        <a:defRPr/>
                      </a:pPr>
                      <a:r>
                        <a:rPr lang="en-US" sz="2800" b="1" kern="1200" baseline="0" dirty="0">
                          <a:solidFill>
                            <a:schemeClr val="tx1">
                              <a:lumMod val="50000"/>
                              <a:lumOff val="50000"/>
                            </a:schemeClr>
                          </a:solidFill>
                          <a:latin typeface="Palatino Linotype" panose="02040502050505030304" pitchFamily="18" charset="0"/>
                          <a:ea typeface="华文中宋" panose="02010600040101010101" pitchFamily="2" charset="-122"/>
                          <a:cs typeface="+mj-cs"/>
                        </a:rPr>
                        <a:t>01  Introduction to </a:t>
                      </a:r>
                      <a:r>
                        <a:rPr lang="en-US" sz="2800" b="1" kern="1200" baseline="0" dirty="0" err="1">
                          <a:solidFill>
                            <a:schemeClr val="tx1">
                              <a:lumMod val="50000"/>
                              <a:lumOff val="50000"/>
                            </a:schemeClr>
                          </a:solidFill>
                          <a:latin typeface="Palatino Linotype" panose="02040502050505030304" pitchFamily="18" charset="0"/>
                          <a:ea typeface="华文中宋" panose="02010600040101010101" pitchFamily="2" charset="-122"/>
                          <a:cs typeface="+mj-cs"/>
                        </a:rPr>
                        <a:t>Yu’e</a:t>
                      </a:r>
                      <a:r>
                        <a:rPr lang="en-US" sz="2800" b="1" kern="1200" baseline="0" dirty="0">
                          <a:solidFill>
                            <a:schemeClr val="tx1">
                              <a:lumMod val="50000"/>
                              <a:lumOff val="50000"/>
                            </a:schemeClr>
                          </a:solidFill>
                          <a:latin typeface="Palatino Linotype" panose="02040502050505030304" pitchFamily="18" charset="0"/>
                          <a:ea typeface="华文中宋" panose="02010600040101010101" pitchFamily="2" charset="-122"/>
                          <a:cs typeface="+mj-cs"/>
                        </a:rPr>
                        <a:t> Bao</a:t>
                      </a:r>
                    </a:p>
                  </a:txBody>
                  <a:tcPr marL="49846" marR="49846" marT="54000" marB="54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584798">
                <a:tc>
                  <a:txBody>
                    <a:bodyPr/>
                    <a:lstStyle/>
                    <a:p>
                      <a:pPr marL="0" marR="0" lvl="0" indent="0" algn="l" defTabSz="914400" rtl="0" eaLnBrk="1" fontAlgn="base" latinLnBrk="0" hangingPunct="1">
                        <a:lnSpc>
                          <a:spcPct val="150000"/>
                        </a:lnSpc>
                        <a:spcBef>
                          <a:spcPct val="0"/>
                        </a:spcBef>
                        <a:spcAft>
                          <a:spcPct val="0"/>
                        </a:spcAft>
                        <a:buClr>
                          <a:schemeClr val="tx1"/>
                        </a:buClr>
                        <a:buSzTx/>
                        <a:buFont typeface="Wingdings 2" pitchFamily="18" charset="2"/>
                        <a:buNone/>
                        <a:tabLst/>
                        <a:defRPr/>
                      </a:pPr>
                      <a:r>
                        <a:rPr lang="en" altLang="zh-CN" sz="2800" b="1" kern="1200" baseline="0" dirty="0">
                          <a:solidFill>
                            <a:schemeClr val="tx1">
                              <a:lumMod val="50000"/>
                              <a:lumOff val="50000"/>
                            </a:schemeClr>
                          </a:solidFill>
                          <a:latin typeface="Palatino Linotype" panose="02040502050505030304" pitchFamily="18" charset="0"/>
                          <a:ea typeface="华文中宋" panose="02010600040101010101" pitchFamily="2" charset="-122"/>
                          <a:cs typeface="+mj-cs"/>
                          <a:sym typeface="Palatino Linotype" panose="02040502050505030304" pitchFamily="18" charset="0"/>
                        </a:rPr>
                        <a:t>02  Feature Engineering &amp; Selection</a:t>
                      </a:r>
                    </a:p>
                  </a:txBody>
                  <a:tcPr marL="49846" marR="49846" marT="54000" marB="54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578224">
                <a:tc>
                  <a:txBody>
                    <a:bodyPr/>
                    <a:lstStyle/>
                    <a:p>
                      <a:pPr marL="0" marR="0" lvl="0" indent="0" algn="l" defTabSz="914400" rtl="0" eaLnBrk="1" fontAlgn="base" latinLnBrk="0" hangingPunct="1">
                        <a:lnSpc>
                          <a:spcPct val="150000"/>
                        </a:lnSpc>
                        <a:spcBef>
                          <a:spcPct val="0"/>
                        </a:spcBef>
                        <a:spcAft>
                          <a:spcPct val="0"/>
                        </a:spcAft>
                        <a:buClr>
                          <a:schemeClr val="tx1"/>
                        </a:buClr>
                        <a:buSzTx/>
                        <a:buFont typeface="Wingdings 2" pitchFamily="18" charset="2"/>
                        <a:buNone/>
                        <a:tabLst/>
                        <a:defRPr/>
                      </a:pPr>
                      <a:r>
                        <a:rPr lang="en-US" altLang="zh-CN" sz="2800" b="1" kern="1200" baseline="0" dirty="0">
                          <a:solidFill>
                            <a:schemeClr val="tx1">
                              <a:lumMod val="50000"/>
                              <a:lumOff val="50000"/>
                            </a:schemeClr>
                          </a:solidFill>
                          <a:latin typeface="Palatino Linotype" panose="02040502050505030304" pitchFamily="18" charset="0"/>
                          <a:ea typeface="华文中宋" panose="02010600040101010101" pitchFamily="2" charset="-122"/>
                          <a:cs typeface="+mj-cs"/>
                          <a:sym typeface="Palatino Linotype" panose="02040502050505030304" pitchFamily="18" charset="0"/>
                        </a:rPr>
                        <a:t>03  Model Analysis</a:t>
                      </a:r>
                      <a:endParaRPr lang="en" altLang="zh-CN" sz="2800" b="1" kern="1200" baseline="0" dirty="0">
                        <a:solidFill>
                          <a:schemeClr val="tx1">
                            <a:lumMod val="50000"/>
                            <a:lumOff val="50000"/>
                          </a:schemeClr>
                        </a:solidFill>
                        <a:latin typeface="Palatino Linotype" panose="02040502050505030304" pitchFamily="18" charset="0"/>
                        <a:ea typeface="华文中宋" panose="02010600040101010101" pitchFamily="2" charset="-122"/>
                        <a:cs typeface="+mj-cs"/>
                        <a:sym typeface="Palatino Linotype" panose="02040502050505030304" pitchFamily="18" charset="0"/>
                      </a:endParaRPr>
                    </a:p>
                  </a:txBody>
                  <a:tcPr marL="49846" marR="49846" marT="54000" marB="54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578224">
                <a:tc>
                  <a:txBody>
                    <a:bodyPr/>
                    <a:lstStyle/>
                    <a:p>
                      <a:pPr marL="0" marR="0" lvl="0" indent="0" algn="l" defTabSz="914400" rtl="0" eaLnBrk="1" fontAlgn="base" latinLnBrk="0" hangingPunct="1">
                        <a:lnSpc>
                          <a:spcPct val="150000"/>
                        </a:lnSpc>
                        <a:spcBef>
                          <a:spcPct val="0"/>
                        </a:spcBef>
                        <a:spcAft>
                          <a:spcPct val="0"/>
                        </a:spcAft>
                        <a:buClr>
                          <a:schemeClr val="tx1"/>
                        </a:buClr>
                        <a:buSzTx/>
                        <a:buFont typeface="Wingdings 2" pitchFamily="18" charset="2"/>
                        <a:buNone/>
                        <a:tabLst/>
                        <a:defRPr/>
                      </a:pPr>
                      <a:r>
                        <a:rPr lang="en-GB" altLang="zh-CN" sz="2800" b="1" kern="1200" baseline="0" dirty="0">
                          <a:solidFill>
                            <a:schemeClr val="tx1">
                              <a:lumMod val="50000"/>
                              <a:lumOff val="50000"/>
                            </a:schemeClr>
                          </a:solidFill>
                          <a:latin typeface="Palatino Linotype" panose="02040502050505030304" pitchFamily="18" charset="0"/>
                          <a:ea typeface="华文中宋" panose="02010600040101010101" pitchFamily="2" charset="-122"/>
                          <a:cs typeface="+mj-cs"/>
                          <a:sym typeface="Palatino Linotype" panose="02040502050505030304" pitchFamily="18" charset="0"/>
                        </a:rPr>
                        <a:t>04  Training, Evaluation &amp; Prediction</a:t>
                      </a:r>
                      <a:endParaRPr lang="en" altLang="zh-CN" sz="2800" b="1" kern="1200" baseline="0" dirty="0">
                        <a:solidFill>
                          <a:schemeClr val="tx1">
                            <a:lumMod val="50000"/>
                            <a:lumOff val="50000"/>
                          </a:schemeClr>
                        </a:solidFill>
                        <a:latin typeface="Palatino Linotype" panose="02040502050505030304" pitchFamily="18" charset="0"/>
                        <a:ea typeface="华文中宋" panose="02010600040101010101" pitchFamily="2" charset="-122"/>
                        <a:cs typeface="+mj-cs"/>
                        <a:sym typeface="Palatino Linotype" panose="02040502050505030304" pitchFamily="18" charset="0"/>
                      </a:endParaRPr>
                    </a:p>
                  </a:txBody>
                  <a:tcPr marL="49846" marR="49846" marT="54000" marB="54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578224">
                <a:tc>
                  <a:txBody>
                    <a:bodyPr/>
                    <a:lstStyle/>
                    <a:p>
                      <a:pPr marL="0" marR="0" lvl="0" indent="0" algn="l" defTabSz="914400" rtl="0" eaLnBrk="1" fontAlgn="base" latinLnBrk="0" hangingPunct="1">
                        <a:lnSpc>
                          <a:spcPct val="150000"/>
                        </a:lnSpc>
                        <a:spcBef>
                          <a:spcPct val="0"/>
                        </a:spcBef>
                        <a:spcAft>
                          <a:spcPct val="0"/>
                        </a:spcAft>
                        <a:buClr>
                          <a:schemeClr val="tx1"/>
                        </a:buClr>
                        <a:buSzTx/>
                        <a:buFont typeface="Wingdings 2" pitchFamily="18" charset="2"/>
                        <a:buNone/>
                        <a:tabLst/>
                        <a:defRPr/>
                      </a:pPr>
                      <a:r>
                        <a:rPr lang="en-US" sz="2800" b="1" kern="1200" baseline="0" dirty="0">
                          <a:solidFill>
                            <a:schemeClr val="tx1">
                              <a:lumMod val="50000"/>
                              <a:lumOff val="50000"/>
                            </a:schemeClr>
                          </a:solidFill>
                          <a:latin typeface="Palatino Linotype" panose="02040502050505030304" pitchFamily="18" charset="0"/>
                          <a:ea typeface="华文中宋" panose="02010600040101010101" pitchFamily="2" charset="-122"/>
                          <a:cs typeface="+mj-cs"/>
                        </a:rPr>
                        <a:t>05  Result Analysis &amp; Interpretation</a:t>
                      </a:r>
                    </a:p>
                  </a:txBody>
                  <a:tcPr marL="49846" marR="49846" marT="54000" marB="54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0934871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64840" y="254918"/>
            <a:ext cx="9368110" cy="611187"/>
          </a:xfrm>
        </p:spPr>
        <p:txBody>
          <a:bodyPr/>
          <a:lstStyle/>
          <a:p>
            <a:r>
              <a:rPr lang="en-US" altLang="zh-CN" dirty="0"/>
              <a:t>Feature selection Process</a:t>
            </a:r>
            <a:endParaRPr lang="en-US" dirty="0"/>
          </a:p>
        </p:txBody>
      </p:sp>
      <p:sp>
        <p:nvSpPr>
          <p:cNvPr id="3" name="AutoShape 3"/>
          <p:cNvSpPr>
            <a:spLocks noChangeArrowheads="1"/>
          </p:cNvSpPr>
          <p:nvPr/>
        </p:nvSpPr>
        <p:spPr bwMode="auto">
          <a:xfrm rot="5400000">
            <a:off x="1681115" y="1095375"/>
            <a:ext cx="1028700" cy="1816100"/>
          </a:xfrm>
          <a:prstGeom prst="chevron">
            <a:avLst>
              <a:gd name="adj" fmla="val 25000"/>
            </a:avLst>
          </a:prstGeom>
          <a:solidFill>
            <a:schemeClr val="bg2"/>
          </a:solidFill>
          <a:ln w="6350" algn="ctr">
            <a:solidFill>
              <a:schemeClr val="bg1"/>
            </a:solidFill>
            <a:miter lim="800000"/>
            <a:headEnd/>
            <a:tailEnd/>
          </a:ln>
        </p:spPr>
        <p:txBody>
          <a:bodyPr rot="10800000" vert="eaVert" lIns="36000" tIns="36000" rIns="36000" bIns="36000" anchor="ctr"/>
          <a:lstStyle/>
          <a:p>
            <a:pPr algn="ctr">
              <a:defRPr/>
            </a:pPr>
            <a:r>
              <a:rPr lang="en-US" sz="1800" b="1" dirty="0">
                <a:solidFill>
                  <a:schemeClr val="bg1"/>
                </a:solidFill>
                <a:latin typeface="Palatino Linotype" panose="02040502050505030304" pitchFamily="18" charset="0"/>
                <a:ea typeface="ＭＳ Ｐゴシック" pitchFamily="50" charset="-128"/>
              </a:rPr>
              <a:t>Low separation ability</a:t>
            </a:r>
          </a:p>
        </p:txBody>
      </p:sp>
      <p:sp>
        <p:nvSpPr>
          <p:cNvPr id="4" name="AutoShape 4"/>
          <p:cNvSpPr>
            <a:spLocks noChangeArrowheads="1"/>
          </p:cNvSpPr>
          <p:nvPr/>
        </p:nvSpPr>
        <p:spPr bwMode="auto">
          <a:xfrm rot="5400000">
            <a:off x="1681115" y="1971675"/>
            <a:ext cx="1028700" cy="1816100"/>
          </a:xfrm>
          <a:prstGeom prst="chevron">
            <a:avLst>
              <a:gd name="adj" fmla="val 25000"/>
            </a:avLst>
          </a:prstGeom>
          <a:solidFill>
            <a:schemeClr val="bg2"/>
          </a:solidFill>
          <a:ln w="6350" algn="ctr">
            <a:solidFill>
              <a:schemeClr val="bg1"/>
            </a:solidFill>
            <a:miter lim="800000"/>
            <a:headEnd/>
            <a:tailEnd/>
          </a:ln>
        </p:spPr>
        <p:txBody>
          <a:bodyPr rot="10800000" vert="eaVert" lIns="36000" tIns="36000" rIns="36000" bIns="36000" anchor="ctr"/>
          <a:lstStyle/>
          <a:p>
            <a:pPr algn="ctr">
              <a:defRPr/>
            </a:pPr>
            <a:r>
              <a:rPr lang="en-US" sz="1800" b="1" dirty="0">
                <a:solidFill>
                  <a:schemeClr val="bg1"/>
                </a:solidFill>
                <a:latin typeface="Palatino Linotype" panose="02040502050505030304" pitchFamily="18" charset="0"/>
                <a:ea typeface="ＭＳ Ｐゴシック" pitchFamily="50" charset="-128"/>
              </a:rPr>
              <a:t>Multi-collinearity</a:t>
            </a:r>
          </a:p>
        </p:txBody>
      </p:sp>
      <p:sp>
        <p:nvSpPr>
          <p:cNvPr id="5" name="AutoShape 5"/>
          <p:cNvSpPr>
            <a:spLocks noChangeArrowheads="1"/>
          </p:cNvSpPr>
          <p:nvPr/>
        </p:nvSpPr>
        <p:spPr bwMode="auto">
          <a:xfrm rot="5400000">
            <a:off x="1681115" y="2847975"/>
            <a:ext cx="1028700" cy="1816100"/>
          </a:xfrm>
          <a:prstGeom prst="chevron">
            <a:avLst>
              <a:gd name="adj" fmla="val 25000"/>
            </a:avLst>
          </a:prstGeom>
          <a:solidFill>
            <a:schemeClr val="bg2"/>
          </a:solidFill>
          <a:ln w="6350" algn="ctr">
            <a:solidFill>
              <a:schemeClr val="bg1"/>
            </a:solidFill>
            <a:miter lim="800000"/>
            <a:headEnd/>
            <a:tailEnd/>
          </a:ln>
        </p:spPr>
        <p:txBody>
          <a:bodyPr rot="10800000" vert="eaVert" lIns="36000" tIns="36000" rIns="36000" bIns="36000" anchor="ctr"/>
          <a:lstStyle/>
          <a:p>
            <a:pPr algn="ctr">
              <a:defRPr/>
            </a:pPr>
            <a:r>
              <a:rPr lang="en-US" sz="1800" b="1" dirty="0">
                <a:solidFill>
                  <a:schemeClr val="bg1"/>
                </a:solidFill>
                <a:latin typeface="Palatino Linotype" panose="02040502050505030304" pitchFamily="18" charset="0"/>
                <a:ea typeface="ＭＳ Ｐゴシック" pitchFamily="50" charset="-128"/>
              </a:rPr>
              <a:t>Low correlation</a:t>
            </a:r>
          </a:p>
        </p:txBody>
      </p:sp>
      <p:sp>
        <p:nvSpPr>
          <p:cNvPr id="6" name="AutoShape 6"/>
          <p:cNvSpPr>
            <a:spLocks noChangeArrowheads="1"/>
          </p:cNvSpPr>
          <p:nvPr/>
        </p:nvSpPr>
        <p:spPr bwMode="auto">
          <a:xfrm rot="5400000">
            <a:off x="1681115" y="3724275"/>
            <a:ext cx="1028700" cy="1816100"/>
          </a:xfrm>
          <a:prstGeom prst="chevron">
            <a:avLst>
              <a:gd name="adj" fmla="val 25000"/>
            </a:avLst>
          </a:prstGeom>
          <a:solidFill>
            <a:schemeClr val="bg2"/>
          </a:solidFill>
          <a:ln w="6350" algn="ctr">
            <a:solidFill>
              <a:schemeClr val="bg1"/>
            </a:solidFill>
            <a:miter lim="800000"/>
            <a:headEnd/>
            <a:tailEnd/>
          </a:ln>
        </p:spPr>
        <p:txBody>
          <a:bodyPr rot="10800000" vert="eaVert" lIns="36000" tIns="36000" rIns="36000" bIns="36000" anchor="ctr"/>
          <a:lstStyle/>
          <a:p>
            <a:pPr algn="ctr">
              <a:defRPr/>
            </a:pPr>
            <a:r>
              <a:rPr lang="en-US" sz="1800" b="1" dirty="0">
                <a:solidFill>
                  <a:schemeClr val="bg1"/>
                </a:solidFill>
                <a:latin typeface="Palatino Linotype" panose="02040502050505030304" pitchFamily="18" charset="0"/>
                <a:ea typeface="ＭＳ Ｐゴシック" pitchFamily="50" charset="-128"/>
              </a:rPr>
              <a:t>Shapley value</a:t>
            </a:r>
          </a:p>
        </p:txBody>
      </p:sp>
      <p:sp>
        <p:nvSpPr>
          <p:cNvPr id="9" name="Text Placeholder 5"/>
          <p:cNvSpPr txBox="1">
            <a:spLocks/>
          </p:cNvSpPr>
          <p:nvPr/>
        </p:nvSpPr>
        <p:spPr>
          <a:xfrm>
            <a:off x="3764075" y="2025638"/>
            <a:ext cx="4860540" cy="4248205"/>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1">
              <a:buClr>
                <a:srgbClr val="8E2929"/>
              </a:buClr>
              <a:buFont typeface="Wingdings" pitchFamily="2" charset="2"/>
              <a:buChar char="ü"/>
            </a:pPr>
            <a:r>
              <a:rPr lang="zh-CN" altLang="en-US" sz="2400" dirty="0">
                <a:solidFill>
                  <a:schemeClr val="tx1"/>
                </a:solidFill>
                <a:latin typeface="Palatino" pitchFamily="2" charset="0"/>
              </a:rPr>
              <a:t> </a:t>
            </a:r>
            <a:r>
              <a:rPr lang="en-US" altLang="zh-CN" sz="2400" dirty="0">
                <a:solidFill>
                  <a:schemeClr val="tx1"/>
                </a:solidFill>
                <a:latin typeface="Palatino" pitchFamily="2" charset="0"/>
              </a:rPr>
              <a:t>Feature engineering:</a:t>
            </a:r>
            <a:r>
              <a:rPr lang="zh-CN" altLang="en-US" sz="2400" dirty="0">
                <a:solidFill>
                  <a:schemeClr val="tx1"/>
                </a:solidFill>
                <a:latin typeface="Palatino" pitchFamily="2" charset="0"/>
              </a:rPr>
              <a:t> </a:t>
            </a:r>
            <a:endParaRPr lang="en-US" altLang="zh-CN" sz="2400" dirty="0">
              <a:solidFill>
                <a:schemeClr val="tx1"/>
              </a:solidFill>
              <a:latin typeface="Palatino" pitchFamily="2" charset="0"/>
            </a:endParaRPr>
          </a:p>
          <a:p>
            <a:pPr lvl="2">
              <a:buClr>
                <a:srgbClr val="8E2929"/>
              </a:buClr>
              <a:buFont typeface="Wingdings" pitchFamily="2" charset="2"/>
              <a:buChar char="Ø"/>
            </a:pPr>
            <a:r>
              <a:rPr lang="zh-CN" altLang="en-US" sz="2400" dirty="0">
                <a:solidFill>
                  <a:schemeClr val="tx1"/>
                </a:solidFill>
                <a:latin typeface="Palatino" pitchFamily="2" charset="0"/>
              </a:rPr>
              <a:t> </a:t>
            </a:r>
            <a:r>
              <a:rPr lang="en-US" altLang="zh-CN" sz="2400" dirty="0">
                <a:solidFill>
                  <a:schemeClr val="tx1"/>
                </a:solidFill>
                <a:latin typeface="Palatino" pitchFamily="2" charset="0"/>
              </a:rPr>
              <a:t>Generate additional features</a:t>
            </a:r>
          </a:p>
          <a:p>
            <a:pPr lvl="2">
              <a:buClr>
                <a:srgbClr val="8E2929"/>
              </a:buClr>
              <a:buFont typeface="Wingdings" pitchFamily="2" charset="2"/>
              <a:buChar char="Ø"/>
            </a:pPr>
            <a:r>
              <a:rPr lang="zh-CN" altLang="en-US" sz="2400" dirty="0">
                <a:solidFill>
                  <a:schemeClr val="tx1"/>
                </a:solidFill>
                <a:latin typeface="Palatino" pitchFamily="2" charset="0"/>
              </a:rPr>
              <a:t> </a:t>
            </a:r>
            <a:r>
              <a:rPr lang="en-US" altLang="zh-CN" sz="2400" dirty="0">
                <a:solidFill>
                  <a:schemeClr val="tx1"/>
                </a:solidFill>
                <a:latin typeface="Palatino" pitchFamily="2" charset="0"/>
              </a:rPr>
              <a:t>Eliminate irrelevant, redundant, or highly correlated features</a:t>
            </a:r>
          </a:p>
          <a:p>
            <a:pPr lvl="2">
              <a:buFont typeface="Wingdings" pitchFamily="2" charset="2"/>
              <a:buChar char="Ø"/>
            </a:pPr>
            <a:endParaRPr lang="en-US" altLang="zh-CN" sz="2400" dirty="0">
              <a:solidFill>
                <a:schemeClr val="tx1"/>
              </a:solidFill>
              <a:latin typeface="Palatino" pitchFamily="2" charset="0"/>
            </a:endParaRPr>
          </a:p>
          <a:p>
            <a:pPr lvl="1">
              <a:buClr>
                <a:srgbClr val="8E2929"/>
              </a:buClr>
              <a:buFont typeface="Wingdings" pitchFamily="2" charset="2"/>
              <a:buChar char="ü"/>
            </a:pPr>
            <a:r>
              <a:rPr lang="zh-CN" altLang="en-US" sz="2400" dirty="0">
                <a:solidFill>
                  <a:srgbClr val="000000"/>
                </a:solidFill>
                <a:latin typeface="Palatino" pitchFamily="2" charset="0"/>
                <a:ea typeface="+mn-ea"/>
                <a:cs typeface="+mn-cs"/>
              </a:rPr>
              <a:t> </a:t>
            </a:r>
            <a:r>
              <a:rPr lang="en-US" altLang="zh-CN" sz="2400" dirty="0">
                <a:solidFill>
                  <a:srgbClr val="000000"/>
                </a:solidFill>
                <a:latin typeface="Palatino" pitchFamily="2" charset="0"/>
                <a:ea typeface="+mn-ea"/>
                <a:cs typeface="+mn-cs"/>
              </a:rPr>
              <a:t>Feature selection:</a:t>
            </a:r>
          </a:p>
          <a:p>
            <a:pPr lvl="2">
              <a:buClr>
                <a:srgbClr val="8E2929"/>
              </a:buClr>
              <a:buFont typeface="Wingdings" pitchFamily="2" charset="2"/>
              <a:buChar char="Ø"/>
            </a:pPr>
            <a:r>
              <a:rPr lang="zh-CN" altLang="en-US" sz="2400" dirty="0">
                <a:solidFill>
                  <a:srgbClr val="000000"/>
                </a:solidFill>
                <a:latin typeface="Palatino" pitchFamily="2" charset="0"/>
                <a:ea typeface="+mn-ea"/>
                <a:cs typeface="+mn-cs"/>
              </a:rPr>
              <a:t> </a:t>
            </a:r>
            <a:r>
              <a:rPr lang="en-US" altLang="zh-CN" sz="2400" dirty="0">
                <a:solidFill>
                  <a:srgbClr val="000000"/>
                </a:solidFill>
                <a:latin typeface="Palatino" pitchFamily="2" charset="0"/>
                <a:ea typeface="+mn-ea"/>
                <a:cs typeface="+mn-cs"/>
              </a:rPr>
              <a:t>Select a subset of relevant, useful features to use in building an analytical model</a:t>
            </a:r>
          </a:p>
          <a:p>
            <a:pPr marL="0" lvl="1" indent="0">
              <a:buNone/>
            </a:pPr>
            <a:endParaRPr lang="en-US" sz="1600" dirty="0">
              <a:solidFill>
                <a:schemeClr val="tx1"/>
              </a:solidFill>
              <a:latin typeface="Palatino Linotype" panose="02040502050505030304" pitchFamily="18" charset="0"/>
            </a:endParaRPr>
          </a:p>
          <a:p>
            <a:pPr lvl="1"/>
            <a:endParaRPr lang="en-US" sz="1600" dirty="0">
              <a:solidFill>
                <a:schemeClr val="tx1"/>
              </a:solidFill>
              <a:latin typeface="Palatino Linotype" panose="02040502050505030304" pitchFamily="18" charset="0"/>
            </a:endParaRPr>
          </a:p>
        </p:txBody>
      </p:sp>
      <p:sp>
        <p:nvSpPr>
          <p:cNvPr id="12" name="AutoShape 6">
            <a:extLst>
              <a:ext uri="{FF2B5EF4-FFF2-40B4-BE49-F238E27FC236}">
                <a16:creationId xmlns:a16="http://schemas.microsoft.com/office/drawing/2014/main" id="{8FC31342-1E58-48A9-B061-1F48693D61FB}"/>
              </a:ext>
            </a:extLst>
          </p:cNvPr>
          <p:cNvSpPr>
            <a:spLocks noChangeArrowheads="1"/>
          </p:cNvSpPr>
          <p:nvPr/>
        </p:nvSpPr>
        <p:spPr bwMode="auto">
          <a:xfrm rot="5400000">
            <a:off x="1673498" y="4609976"/>
            <a:ext cx="1028700" cy="1816100"/>
          </a:xfrm>
          <a:prstGeom prst="chevron">
            <a:avLst>
              <a:gd name="adj" fmla="val 25000"/>
            </a:avLst>
          </a:prstGeom>
          <a:solidFill>
            <a:schemeClr val="bg2"/>
          </a:solidFill>
          <a:ln w="6350" algn="ctr">
            <a:solidFill>
              <a:schemeClr val="bg1"/>
            </a:solidFill>
            <a:miter lim="800000"/>
            <a:headEnd/>
            <a:tailEnd/>
          </a:ln>
        </p:spPr>
        <p:txBody>
          <a:bodyPr rot="10800000" vert="eaVert" lIns="36000" tIns="36000" rIns="36000" bIns="36000" anchor="ctr"/>
          <a:lstStyle/>
          <a:p>
            <a:pPr algn="ctr">
              <a:defRPr/>
            </a:pPr>
            <a:r>
              <a:rPr lang="en-US" sz="1800" b="1" dirty="0">
                <a:solidFill>
                  <a:schemeClr val="bg1"/>
                </a:solidFill>
                <a:latin typeface="Palatino Linotype" panose="02040502050505030304" pitchFamily="18" charset="0"/>
                <a:ea typeface="ＭＳ Ｐゴシック" pitchFamily="50" charset="-128"/>
              </a:rPr>
              <a:t>Permutation</a:t>
            </a:r>
          </a:p>
          <a:p>
            <a:pPr algn="ctr">
              <a:defRPr/>
            </a:pPr>
            <a:r>
              <a:rPr lang="en-US" sz="1800" b="1" dirty="0">
                <a:solidFill>
                  <a:schemeClr val="bg1"/>
                </a:solidFill>
                <a:latin typeface="Palatino Linotype" panose="02040502050505030304" pitchFamily="18" charset="0"/>
                <a:ea typeface="ＭＳ Ｐゴシック" pitchFamily="50" charset="-128"/>
              </a:rPr>
              <a:t>Importance</a:t>
            </a:r>
          </a:p>
        </p:txBody>
      </p:sp>
      <p:sp>
        <p:nvSpPr>
          <p:cNvPr id="10" name="Text Placeholder 5">
            <a:extLst>
              <a:ext uri="{FF2B5EF4-FFF2-40B4-BE49-F238E27FC236}">
                <a16:creationId xmlns:a16="http://schemas.microsoft.com/office/drawing/2014/main" id="{B363F830-9647-7C4C-8E52-082BBBA54259}"/>
              </a:ext>
            </a:extLst>
          </p:cNvPr>
          <p:cNvSpPr txBox="1">
            <a:spLocks/>
          </p:cNvSpPr>
          <p:nvPr/>
        </p:nvSpPr>
        <p:spPr>
          <a:xfrm>
            <a:off x="3692067" y="1953630"/>
            <a:ext cx="5040559" cy="4078746"/>
          </a:xfrm>
          <a:prstGeom prst="rect">
            <a:avLst/>
          </a:prstGeom>
          <a:ln w="12700">
            <a:solidFill>
              <a:schemeClr val="bg2"/>
            </a:solidFill>
          </a:ln>
        </p:spPr>
        <p:txBody>
          <a:bodyPr wrap="square" lIns="3600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endParaRPr lang="en-US" sz="1800" dirty="0">
              <a:solidFill>
                <a:schemeClr val="tx1"/>
              </a:solidFill>
              <a:latin typeface="Palatino Linotype" panose="02040502050505030304" pitchFamily="18" charset="0"/>
            </a:endParaRPr>
          </a:p>
          <a:p>
            <a:endParaRPr lang="en-US" sz="1800" dirty="0">
              <a:solidFill>
                <a:schemeClr val="tx1"/>
              </a:solidFill>
              <a:latin typeface="Palatino Linotype" panose="02040502050505030304" pitchFamily="18" charset="0"/>
            </a:endParaRPr>
          </a:p>
        </p:txBody>
      </p:sp>
      <p:sp>
        <p:nvSpPr>
          <p:cNvPr id="11" name="Text Box 10">
            <a:extLst>
              <a:ext uri="{FF2B5EF4-FFF2-40B4-BE49-F238E27FC236}">
                <a16:creationId xmlns:a16="http://schemas.microsoft.com/office/drawing/2014/main" id="{8B07F1D7-398E-354D-92BE-EEAFBF443912}"/>
              </a:ext>
            </a:extLst>
          </p:cNvPr>
          <p:cNvSpPr txBox="1">
            <a:spLocks noChangeArrowheads="1"/>
          </p:cNvSpPr>
          <p:nvPr>
            <p:custDataLst>
              <p:tags r:id="rId1"/>
            </p:custDataLst>
          </p:nvPr>
        </p:nvSpPr>
        <p:spPr bwMode="auto">
          <a:xfrm>
            <a:off x="3692067" y="1581283"/>
            <a:ext cx="5040558" cy="372347"/>
          </a:xfrm>
          <a:prstGeom prst="rect">
            <a:avLst/>
          </a:prstGeom>
          <a:solidFill>
            <a:schemeClr val="bg2"/>
          </a:solidFill>
          <a:ln w="12700" algn="ctr">
            <a:solidFill>
              <a:schemeClr val="bg2"/>
            </a:solidFill>
            <a:miter lim="800000"/>
            <a:headEnd/>
            <a:tailEnd type="none" w="sm" len="med"/>
          </a:ln>
        </p:spPr>
        <p:txBody>
          <a:bodyPr lIns="36000" tIns="36000" rIns="36000" bIns="36000" anchor="ctr" anchorCtr="1"/>
          <a:lstStyle/>
          <a:p>
            <a:pPr algn="ctr" defTabSz="957263"/>
            <a:endParaRPr lang="en-US" sz="1400" b="1" dirty="0">
              <a:solidFill>
                <a:schemeClr val="bg1"/>
              </a:solidFill>
              <a:latin typeface="Palatino Linotype" panose="02040502050505030304" pitchFamily="18" charset="0"/>
            </a:endParaRPr>
          </a:p>
        </p:txBody>
      </p:sp>
    </p:spTree>
    <p:extLst>
      <p:ext uri="{BB962C8B-B14F-4D97-AF65-F5344CB8AC3E}">
        <p14:creationId xmlns:p14="http://schemas.microsoft.com/office/powerpoint/2010/main" val="221838571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5"/>
          <p:cNvSpPr txBox="1">
            <a:spLocks/>
          </p:cNvSpPr>
          <p:nvPr/>
        </p:nvSpPr>
        <p:spPr>
          <a:xfrm>
            <a:off x="264840" y="1160463"/>
            <a:ext cx="9403035" cy="5149850"/>
          </a:xfrm>
          <a:prstGeom prst="rect">
            <a:avLst/>
          </a:prstGeom>
        </p:spPr>
        <p:txBody>
          <a:bodyPr/>
          <a:lstStyle>
            <a:lvl1pPr marL="188568" indent="-188568" algn="l" defTabSz="957925" rtl="0" eaLnBrk="1" latinLnBrk="0" hangingPunct="1">
              <a:lnSpc>
                <a:spcPct val="90000"/>
              </a:lnSpc>
              <a:spcBef>
                <a:spcPts val="1467"/>
              </a:spcBef>
              <a:buClr>
                <a:schemeClr val="bg2"/>
              </a:buClr>
              <a:buSzPct val="100000"/>
              <a:buFont typeface="Arial" pitchFamily="34" charset="0"/>
              <a:buChar char="■"/>
              <a:defRPr sz="1700" kern="1200">
                <a:solidFill>
                  <a:schemeClr val="tx1"/>
                </a:solidFill>
                <a:latin typeface="Palatino Linotype" panose="02040502050505030304" pitchFamily="18" charset="0"/>
                <a:ea typeface="+mn-ea"/>
                <a:cs typeface="Arial" pitchFamily="34" charset="0"/>
              </a:defRPr>
            </a:lvl1pPr>
            <a:lvl2pPr marL="325695" indent="-134110" algn="l" defTabSz="957925" rtl="0" eaLnBrk="1" latinLnBrk="0" hangingPunct="1">
              <a:lnSpc>
                <a:spcPct val="90000"/>
              </a:lnSpc>
              <a:spcBef>
                <a:spcPts val="943"/>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2pPr>
            <a:lvl3pPr marL="512905" indent="-188568" algn="l" defTabSz="957925" rtl="0" eaLnBrk="1" latinLnBrk="0" hangingPunct="1">
              <a:lnSpc>
                <a:spcPct val="90000"/>
              </a:lnSpc>
              <a:spcBef>
                <a:spcPts val="629"/>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3pPr>
            <a:lvl4pPr marL="663759" indent="-143689" algn="l" defTabSz="957925" rtl="0" eaLnBrk="1" latinLnBrk="0" hangingPunct="1">
              <a:lnSpc>
                <a:spcPct val="90000"/>
              </a:lnSpc>
              <a:spcBef>
                <a:spcPts val="210"/>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4pPr>
            <a:lvl5pPr marL="807071" indent="-143312" algn="l" defTabSz="957925" rtl="0" eaLnBrk="1" latinLnBrk="0" hangingPunct="1">
              <a:lnSpc>
                <a:spcPct val="90000"/>
              </a:lnSpc>
              <a:spcBef>
                <a:spcPts val="105"/>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5pPr>
            <a:lvl6pPr marL="2634295"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3258"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2220"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1183"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buNone/>
            </a:pPr>
            <a:endParaRPr lang="en-US" sz="1600" dirty="0"/>
          </a:p>
        </p:txBody>
      </p:sp>
      <p:sp>
        <p:nvSpPr>
          <p:cNvPr id="14" name="标题 1">
            <a:extLst>
              <a:ext uri="{FF2B5EF4-FFF2-40B4-BE49-F238E27FC236}">
                <a16:creationId xmlns:a16="http://schemas.microsoft.com/office/drawing/2014/main" id="{4FC0B03D-650C-46EA-B423-DF78D134EBC6}"/>
              </a:ext>
            </a:extLst>
          </p:cNvPr>
          <p:cNvSpPr>
            <a:spLocks noGrp="1"/>
          </p:cNvSpPr>
          <p:nvPr>
            <p:ph type="title"/>
          </p:nvPr>
        </p:nvSpPr>
        <p:spPr>
          <a:xfrm>
            <a:off x="264840" y="296863"/>
            <a:ext cx="9368110" cy="611187"/>
          </a:xfrm>
        </p:spPr>
        <p:txBody>
          <a:bodyPr/>
          <a:lstStyle/>
          <a:p>
            <a:r>
              <a:rPr lang="en-US" altLang="zh-CN" sz="2800" dirty="0">
                <a:latin typeface="Palatino" pitchFamily="2" charset="0"/>
              </a:rPr>
              <a:t>1.</a:t>
            </a:r>
            <a:r>
              <a:rPr lang="zh-CN" altLang="en-US" sz="2800" dirty="0">
                <a:latin typeface="Palatino" pitchFamily="2" charset="0"/>
              </a:rPr>
              <a:t> </a:t>
            </a:r>
            <a:r>
              <a:rPr lang="en-US" altLang="zh-CN" sz="2800" dirty="0">
                <a:latin typeface="Palatino" pitchFamily="2" charset="0"/>
              </a:rPr>
              <a:t>Delete features with low separation ability</a:t>
            </a:r>
            <a:r>
              <a:rPr lang="en-US" altLang="zh-CN" dirty="0"/>
              <a:t> </a:t>
            </a:r>
            <a:endParaRPr lang="en-US" dirty="0"/>
          </a:p>
        </p:txBody>
      </p:sp>
      <p:pic>
        <p:nvPicPr>
          <p:cNvPr id="17" name="图片 16">
            <a:extLst>
              <a:ext uri="{FF2B5EF4-FFF2-40B4-BE49-F238E27FC236}">
                <a16:creationId xmlns:a16="http://schemas.microsoft.com/office/drawing/2014/main" id="{7B836735-610E-4305-A0FB-E50BAF3C1F19}"/>
              </a:ext>
            </a:extLst>
          </p:cNvPr>
          <p:cNvPicPr>
            <a:picLocks noChangeAspect="1"/>
          </p:cNvPicPr>
          <p:nvPr/>
        </p:nvPicPr>
        <p:blipFill>
          <a:blip r:embed="rId2"/>
          <a:stretch>
            <a:fillRect/>
          </a:stretch>
        </p:blipFill>
        <p:spPr>
          <a:xfrm>
            <a:off x="115104" y="1557587"/>
            <a:ext cx="9182634" cy="4681786"/>
          </a:xfrm>
          <a:prstGeom prst="rect">
            <a:avLst/>
          </a:prstGeom>
        </p:spPr>
      </p:pic>
      <p:sp>
        <p:nvSpPr>
          <p:cNvPr id="18" name="矩形 17">
            <a:extLst>
              <a:ext uri="{FF2B5EF4-FFF2-40B4-BE49-F238E27FC236}">
                <a16:creationId xmlns:a16="http://schemas.microsoft.com/office/drawing/2014/main" id="{32258939-2C36-41D0-AD56-88159B591CA2}"/>
              </a:ext>
            </a:extLst>
          </p:cNvPr>
          <p:cNvSpPr/>
          <p:nvPr/>
        </p:nvSpPr>
        <p:spPr>
          <a:xfrm>
            <a:off x="4772186" y="3069754"/>
            <a:ext cx="2268252" cy="1620180"/>
          </a:xfrm>
          <a:prstGeom prst="rect">
            <a:avLst/>
          </a:prstGeom>
          <a:noFill/>
          <a:ln w="57150" cap="flat">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zh-CN" altLang="en-US" sz="1400" dirty="0" err="1">
              <a:solidFill>
                <a:schemeClr val="bg1"/>
              </a:solidFill>
              <a:latin typeface="Palatino" pitchFamily="2" charset="0"/>
              <a:cs typeface="Arial" pitchFamily="34" charset="0"/>
            </a:endParaRPr>
          </a:p>
        </p:txBody>
      </p:sp>
    </p:spTree>
    <p:extLst>
      <p:ext uri="{BB962C8B-B14F-4D97-AF65-F5344CB8AC3E}">
        <p14:creationId xmlns:p14="http://schemas.microsoft.com/office/powerpoint/2010/main" val="41847959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5"/>
          <p:cNvSpPr txBox="1">
            <a:spLocks/>
          </p:cNvSpPr>
          <p:nvPr/>
        </p:nvSpPr>
        <p:spPr>
          <a:xfrm>
            <a:off x="264840" y="1160463"/>
            <a:ext cx="9403035" cy="5149850"/>
          </a:xfrm>
          <a:prstGeom prst="rect">
            <a:avLst/>
          </a:prstGeom>
        </p:spPr>
        <p:txBody>
          <a:bodyPr/>
          <a:lstStyle>
            <a:lvl1pPr marL="188568" indent="-188568" algn="l" defTabSz="957925" rtl="0" eaLnBrk="1" latinLnBrk="0" hangingPunct="1">
              <a:lnSpc>
                <a:spcPct val="90000"/>
              </a:lnSpc>
              <a:spcBef>
                <a:spcPts val="1467"/>
              </a:spcBef>
              <a:buClr>
                <a:schemeClr val="bg2"/>
              </a:buClr>
              <a:buSzPct val="100000"/>
              <a:buFont typeface="Arial" pitchFamily="34" charset="0"/>
              <a:buChar char="■"/>
              <a:defRPr sz="1700" kern="1200">
                <a:solidFill>
                  <a:schemeClr val="tx1"/>
                </a:solidFill>
                <a:latin typeface="Palatino Linotype" panose="02040502050505030304" pitchFamily="18" charset="0"/>
                <a:ea typeface="+mn-ea"/>
                <a:cs typeface="Arial" pitchFamily="34" charset="0"/>
              </a:defRPr>
            </a:lvl1pPr>
            <a:lvl2pPr marL="325695" indent="-134110" algn="l" defTabSz="957925" rtl="0" eaLnBrk="1" latinLnBrk="0" hangingPunct="1">
              <a:lnSpc>
                <a:spcPct val="90000"/>
              </a:lnSpc>
              <a:spcBef>
                <a:spcPts val="943"/>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2pPr>
            <a:lvl3pPr marL="512905" indent="-188568" algn="l" defTabSz="957925" rtl="0" eaLnBrk="1" latinLnBrk="0" hangingPunct="1">
              <a:lnSpc>
                <a:spcPct val="90000"/>
              </a:lnSpc>
              <a:spcBef>
                <a:spcPts val="629"/>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3pPr>
            <a:lvl4pPr marL="663759" indent="-143689" algn="l" defTabSz="957925" rtl="0" eaLnBrk="1" latinLnBrk="0" hangingPunct="1">
              <a:lnSpc>
                <a:spcPct val="90000"/>
              </a:lnSpc>
              <a:spcBef>
                <a:spcPts val="210"/>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4pPr>
            <a:lvl5pPr marL="807071" indent="-143312" algn="l" defTabSz="957925" rtl="0" eaLnBrk="1" latinLnBrk="0" hangingPunct="1">
              <a:lnSpc>
                <a:spcPct val="90000"/>
              </a:lnSpc>
              <a:spcBef>
                <a:spcPts val="105"/>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5pPr>
            <a:lvl6pPr marL="2634295"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3258"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2220"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1183"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buNone/>
            </a:pPr>
            <a:endParaRPr lang="en-US" sz="1600" dirty="0"/>
          </a:p>
        </p:txBody>
      </p:sp>
      <p:sp>
        <p:nvSpPr>
          <p:cNvPr id="14" name="标题 1">
            <a:extLst>
              <a:ext uri="{FF2B5EF4-FFF2-40B4-BE49-F238E27FC236}">
                <a16:creationId xmlns:a16="http://schemas.microsoft.com/office/drawing/2014/main" id="{4FC0B03D-650C-46EA-B423-DF78D134EBC6}"/>
              </a:ext>
            </a:extLst>
          </p:cNvPr>
          <p:cNvSpPr>
            <a:spLocks noGrp="1"/>
          </p:cNvSpPr>
          <p:nvPr>
            <p:ph type="title"/>
          </p:nvPr>
        </p:nvSpPr>
        <p:spPr>
          <a:xfrm>
            <a:off x="264840" y="296863"/>
            <a:ext cx="9368110" cy="611187"/>
          </a:xfrm>
        </p:spPr>
        <p:txBody>
          <a:bodyPr/>
          <a:lstStyle/>
          <a:p>
            <a:r>
              <a:rPr lang="en-US" altLang="zh-CN" sz="2800" dirty="0">
                <a:latin typeface="Palatino" pitchFamily="2" charset="0"/>
              </a:rPr>
              <a:t>2.</a:t>
            </a:r>
            <a:r>
              <a:rPr lang="zh-CN" altLang="en-US" sz="2800" dirty="0">
                <a:latin typeface="Palatino" pitchFamily="2" charset="0"/>
              </a:rPr>
              <a:t> </a:t>
            </a:r>
            <a:r>
              <a:rPr lang="en-US" altLang="zh-CN" sz="2800" dirty="0">
                <a:latin typeface="Palatino" pitchFamily="2" charset="0"/>
              </a:rPr>
              <a:t>Delete features with Multi-collinearity</a:t>
            </a:r>
            <a:br>
              <a:rPr lang="en-US" altLang="zh-CN" dirty="0"/>
            </a:br>
            <a:r>
              <a:rPr lang="en-US" altLang="zh-CN" dirty="0"/>
              <a:t> </a:t>
            </a:r>
            <a:endParaRPr lang="en-US" dirty="0"/>
          </a:p>
        </p:txBody>
      </p:sp>
      <mc:AlternateContent xmlns:mc="http://schemas.openxmlformats.org/markup-compatibility/2006" xmlns:a14="http://schemas.microsoft.com/office/drawing/2010/main">
        <mc:Choice Requires="a14">
          <p:sp>
            <p:nvSpPr>
              <p:cNvPr id="4" name="文本框 3">
                <a:extLst>
                  <a:ext uri="{FF2B5EF4-FFF2-40B4-BE49-F238E27FC236}">
                    <a16:creationId xmlns:a16="http://schemas.microsoft.com/office/drawing/2014/main" id="{C1FBBD55-D1F2-4D30-8789-B5F74A3558F4}"/>
                  </a:ext>
                </a:extLst>
              </p:cNvPr>
              <p:cNvSpPr txBox="1"/>
              <p:nvPr/>
            </p:nvSpPr>
            <p:spPr>
              <a:xfrm>
                <a:off x="523714" y="1690350"/>
                <a:ext cx="8424936" cy="4295728"/>
              </a:xfrm>
              <a:prstGeom prst="rect">
                <a:avLst/>
              </a:prstGeom>
              <a:noFill/>
              <a:ln w="6350" cap="flat">
                <a:noFill/>
                <a:miter lim="800000"/>
              </a:ln>
            </p:spPr>
            <p:txBody>
              <a:bodyPr wrap="square" lIns="0" tIns="0" rIns="0" bIns="0" rtlCol="0" anchor="t" anchorCtr="0">
                <a:spAutoFit/>
              </a:bodyPr>
              <a:lstStyle/>
              <a:p>
                <a:pPr marL="0" lvl="1" defTabSz="957263" fontAlgn="base">
                  <a:spcBef>
                    <a:spcPts val="400"/>
                  </a:spcBef>
                  <a:buClr>
                    <a:schemeClr val="bg2"/>
                  </a:buClr>
                </a:pPr>
                <a:r>
                  <a:rPr lang="en-US" altLang="zh-CN" sz="2400" dirty="0">
                    <a:latin typeface="Palatino" pitchFamily="2" charset="0"/>
                    <a:ea typeface="+mj-ea"/>
                    <a:cs typeface="+mj-cs"/>
                  </a:rPr>
                  <a:t>Rules</a:t>
                </a:r>
                <a:r>
                  <a:rPr lang="zh-CN" altLang="en-US" sz="2400" dirty="0">
                    <a:latin typeface="Palatino" pitchFamily="2" charset="0"/>
                    <a:ea typeface="+mj-ea"/>
                    <a:cs typeface="+mj-cs"/>
                  </a:rPr>
                  <a:t> </a:t>
                </a:r>
                <a:r>
                  <a:rPr lang="en-US" altLang="zh-CN" sz="2400" dirty="0">
                    <a:latin typeface="Palatino" pitchFamily="2" charset="0"/>
                    <a:ea typeface="+mj-ea"/>
                    <a:cs typeface="+mj-cs"/>
                  </a:rPr>
                  <a:t>:</a:t>
                </a:r>
              </a:p>
              <a:p>
                <a:pPr marL="342900" lvl="1" indent="-342900" defTabSz="957263" fontAlgn="base">
                  <a:spcBef>
                    <a:spcPts val="400"/>
                  </a:spcBef>
                  <a:buClr>
                    <a:schemeClr val="bg2"/>
                  </a:buClr>
                  <a:buFont typeface="Wingdings" pitchFamily="2" charset="2"/>
                  <a:buChar char="ü"/>
                </a:pPr>
                <a:r>
                  <a:rPr lang="en-US" altLang="zh-CN" sz="2400" dirty="0">
                    <a:latin typeface="Palatino" pitchFamily="2" charset="0"/>
                    <a:ea typeface="+mj-ea"/>
                    <a:cs typeface="+mj-cs"/>
                  </a:rPr>
                  <a:t>Compute correlation coefficient between any two features. </a:t>
                </a:r>
              </a:p>
              <a:p>
                <a:pPr marL="821862" lvl="2" indent="-342900" defTabSz="957263" fontAlgn="base">
                  <a:spcBef>
                    <a:spcPts val="400"/>
                  </a:spcBef>
                  <a:buClr>
                    <a:schemeClr val="bg2"/>
                  </a:buClr>
                  <a:buFont typeface="Wingdings" pitchFamily="2" charset="2"/>
                  <a:buChar char="Ø"/>
                </a:pPr>
                <a:r>
                  <a:rPr lang="en-US" altLang="zh-CN" sz="2400" dirty="0">
                    <a:latin typeface="Palatino" pitchFamily="2" charset="0"/>
                    <a:ea typeface="+mj-ea"/>
                    <a:cs typeface="+mj-cs"/>
                  </a:rPr>
                  <a:t>two feature’s correlation coefficient &gt;</a:t>
                </a:r>
                <a:r>
                  <a:rPr lang="zh-CN" altLang="en-US" sz="2400" dirty="0">
                    <a:latin typeface="Palatino" pitchFamily="2" charset="0"/>
                    <a:ea typeface="+mj-ea"/>
                    <a:cs typeface="+mj-cs"/>
                  </a:rPr>
                  <a:t> </a:t>
                </a:r>
                <a:r>
                  <a:rPr lang="en-US" altLang="zh-CN" sz="2400" dirty="0">
                    <a:latin typeface="Palatino" pitchFamily="2" charset="0"/>
                    <a:ea typeface="+mj-ea"/>
                    <a:cs typeface="+mj-cs"/>
                  </a:rPr>
                  <a:t>0.8</a:t>
                </a:r>
                <a:r>
                  <a:rPr lang="zh-CN" altLang="en-US" sz="2400" dirty="0">
                    <a:latin typeface="Palatino" pitchFamily="2" charset="0"/>
                    <a:ea typeface="+mj-ea"/>
                    <a:cs typeface="+mj-cs"/>
                  </a:rPr>
                  <a:t> </a:t>
                </a:r>
                <a:r>
                  <a:rPr lang="en-US" altLang="zh-CN" sz="2400" dirty="0">
                    <a:latin typeface="Palatino" pitchFamily="2" charset="0"/>
                    <a:ea typeface="+mj-ea"/>
                    <a:cs typeface="+mj-cs"/>
                  </a:rPr>
                  <a:t>→</a:t>
                </a:r>
                <a:r>
                  <a:rPr lang="zh-CN" altLang="en-US" sz="2400" dirty="0">
                    <a:latin typeface="Palatino" pitchFamily="2" charset="0"/>
                    <a:ea typeface="+mj-ea"/>
                    <a:cs typeface="+mj-cs"/>
                  </a:rPr>
                  <a:t> </a:t>
                </a:r>
                <a:r>
                  <a:rPr lang="en-US" altLang="zh-CN" sz="2400" dirty="0">
                    <a:latin typeface="Palatino" pitchFamily="2" charset="0"/>
                    <a:ea typeface="+mj-ea"/>
                    <a:cs typeface="+mj-cs"/>
                  </a:rPr>
                  <a:t>delete the one with small correlation with predicting variables</a:t>
                </a:r>
              </a:p>
              <a:p>
                <a:pPr marL="180000" lvl="1" indent="-180000" defTabSz="957263" fontAlgn="base">
                  <a:spcBef>
                    <a:spcPts val="400"/>
                  </a:spcBef>
                  <a:buClr>
                    <a:schemeClr val="bg2"/>
                  </a:buClr>
                  <a:buFont typeface="Arial" charset="0"/>
                  <a:buChar char="•"/>
                </a:pPr>
                <a:endParaRPr lang="en-US" altLang="zh-CN" sz="2400" dirty="0">
                  <a:latin typeface="Palatino" pitchFamily="2" charset="0"/>
                  <a:ea typeface="+mj-ea"/>
                  <a:cs typeface="+mj-cs"/>
                </a:endParaRPr>
              </a:p>
              <a:p>
                <a:pPr marL="180000" lvl="1" indent="-180000" defTabSz="957263" fontAlgn="base">
                  <a:spcBef>
                    <a:spcPts val="400"/>
                  </a:spcBef>
                  <a:buClr>
                    <a:schemeClr val="bg2"/>
                  </a:buClr>
                  <a:buFont typeface="Arial" charset="0"/>
                  <a:buChar char="•"/>
                </a:pPr>
                <a:endParaRPr lang="en-US" altLang="zh-CN" sz="2400" dirty="0">
                  <a:latin typeface="Palatino" pitchFamily="2" charset="0"/>
                  <a:ea typeface="+mj-ea"/>
                  <a:cs typeface="+mj-cs"/>
                </a:endParaRPr>
              </a:p>
              <a:p>
                <a:pPr marL="342900" lvl="1" indent="-342900" defTabSz="957263" fontAlgn="base">
                  <a:spcBef>
                    <a:spcPts val="400"/>
                  </a:spcBef>
                  <a:buClr>
                    <a:schemeClr val="bg2"/>
                  </a:buClr>
                  <a:buFont typeface="Wingdings" pitchFamily="2" charset="2"/>
                  <a:buChar char="ü"/>
                </a:pPr>
                <a:r>
                  <a:rPr lang="en-US" altLang="zh-CN" sz="2400" dirty="0">
                    <a:latin typeface="Palatino" pitchFamily="2" charset="0"/>
                    <a:ea typeface="+mj-ea"/>
                    <a:cs typeface="+mj-cs"/>
                  </a:rPr>
                  <a:t>Use VIF statistic value to detect potential </a:t>
                </a:r>
                <a:r>
                  <a:rPr lang="en-US" altLang="zh-CN" sz="2400" dirty="0">
                    <a:latin typeface="Palatino" pitchFamily="2" charset="0"/>
                    <a:ea typeface="+mj-ea"/>
                    <a:cs typeface="Arial" pitchFamily="34" charset="0"/>
                  </a:rPr>
                  <a:t>m</a:t>
                </a:r>
                <a:r>
                  <a:rPr lang="en-US" altLang="zh-CN" sz="2400" dirty="0">
                    <a:latin typeface="Palatino" pitchFamily="2" charset="0"/>
                    <a:cs typeface="Arial" pitchFamily="34" charset="0"/>
                  </a:rPr>
                  <a:t>ulti-collinearity, the truncated value is set to be 10.</a:t>
                </a:r>
              </a:p>
              <a:p>
                <a:pPr marL="180000" lvl="1" indent="-180000" defTabSz="957263" fontAlgn="base">
                  <a:spcBef>
                    <a:spcPts val="400"/>
                  </a:spcBef>
                  <a:buClr>
                    <a:schemeClr val="bg2"/>
                  </a:buClr>
                  <a:buFont typeface="Arial" charset="0"/>
                  <a:buChar char="•"/>
                </a:pPr>
                <a:endParaRPr lang="en-US" altLang="zh-CN" sz="1800" dirty="0">
                  <a:latin typeface="Palatino" pitchFamily="2" charset="0"/>
                  <a:cs typeface="Arial" pitchFamily="34" charset="0"/>
                </a:endParaRPr>
              </a:p>
              <a:p>
                <a:pPr marL="0" lvl="1" defTabSz="957263" fontAlgn="base">
                  <a:spcBef>
                    <a:spcPts val="400"/>
                  </a:spcBef>
                  <a:buClr>
                    <a:schemeClr val="bg2"/>
                  </a:buClr>
                </a:pPr>
                <a14:m>
                  <m:oMathPara xmlns:m="http://schemas.openxmlformats.org/officeDocument/2006/math">
                    <m:oMathParaPr>
                      <m:jc m:val="centerGroup"/>
                    </m:oMathParaPr>
                    <m:oMath xmlns:m="http://schemas.openxmlformats.org/officeDocument/2006/math">
                      <m:r>
                        <a:rPr lang="en-US" altLang="zh-CN" sz="2400" b="0" i="1" smtClean="0">
                          <a:latin typeface="Cambria Math" panose="02040503050406030204" pitchFamily="18" charset="0"/>
                          <a:ea typeface="+mj-ea"/>
                          <a:cs typeface="+mj-cs"/>
                        </a:rPr>
                        <m:t>𝑉𝐼</m:t>
                      </m:r>
                      <m:sSub>
                        <m:sSubPr>
                          <m:ctrlPr>
                            <a:rPr lang="en-US" altLang="zh-CN" sz="2400" b="0" i="1" smtClean="0">
                              <a:latin typeface="Cambria Math" panose="02040503050406030204" pitchFamily="18" charset="0"/>
                              <a:ea typeface="+mj-ea"/>
                              <a:cs typeface="+mj-cs"/>
                            </a:rPr>
                          </m:ctrlPr>
                        </m:sSubPr>
                        <m:e>
                          <m:r>
                            <a:rPr lang="en-US" altLang="zh-CN" sz="2400" b="0" i="1" smtClean="0">
                              <a:latin typeface="Cambria Math" panose="02040503050406030204" pitchFamily="18" charset="0"/>
                              <a:ea typeface="+mj-ea"/>
                              <a:cs typeface="+mj-cs"/>
                            </a:rPr>
                            <m:t>𝐹</m:t>
                          </m:r>
                        </m:e>
                        <m:sub>
                          <m:r>
                            <a:rPr lang="en-US" altLang="zh-CN" sz="2400" b="0" i="1" smtClean="0">
                              <a:latin typeface="Cambria Math" panose="02040503050406030204" pitchFamily="18" charset="0"/>
                              <a:ea typeface="+mj-ea"/>
                              <a:cs typeface="+mj-cs"/>
                            </a:rPr>
                            <m:t>𝑖</m:t>
                          </m:r>
                        </m:sub>
                      </m:sSub>
                      <m:r>
                        <a:rPr lang="en-US" altLang="zh-CN" sz="2400" b="0" i="1" smtClean="0">
                          <a:latin typeface="Cambria Math" panose="02040503050406030204" pitchFamily="18" charset="0"/>
                          <a:ea typeface="+mj-ea"/>
                          <a:cs typeface="+mj-cs"/>
                        </a:rPr>
                        <m:t>=</m:t>
                      </m:r>
                      <m:f>
                        <m:fPr>
                          <m:ctrlPr>
                            <a:rPr lang="en-US" altLang="zh-CN" sz="2400" b="0" i="1" smtClean="0">
                              <a:latin typeface="Cambria Math" panose="02040503050406030204" pitchFamily="18" charset="0"/>
                              <a:ea typeface="+mj-ea"/>
                              <a:cs typeface="+mj-cs"/>
                            </a:rPr>
                          </m:ctrlPr>
                        </m:fPr>
                        <m:num>
                          <m:r>
                            <a:rPr lang="en-US" altLang="zh-CN" sz="2400" b="0" i="1" smtClean="0">
                              <a:latin typeface="Cambria Math" panose="02040503050406030204" pitchFamily="18" charset="0"/>
                              <a:ea typeface="+mj-ea"/>
                              <a:cs typeface="+mj-cs"/>
                            </a:rPr>
                            <m:t>1</m:t>
                          </m:r>
                        </m:num>
                        <m:den>
                          <m:r>
                            <a:rPr lang="en-US" altLang="zh-CN" sz="2400" b="0" i="1" smtClean="0">
                              <a:latin typeface="Cambria Math" panose="02040503050406030204" pitchFamily="18" charset="0"/>
                              <a:ea typeface="+mj-ea"/>
                              <a:cs typeface="+mj-cs"/>
                            </a:rPr>
                            <m:t>1−</m:t>
                          </m:r>
                          <m:sSub>
                            <m:sSubPr>
                              <m:ctrlPr>
                                <a:rPr lang="en-US" altLang="zh-CN" sz="2400" b="0" i="1" smtClean="0">
                                  <a:latin typeface="Cambria Math" panose="02040503050406030204" pitchFamily="18" charset="0"/>
                                  <a:ea typeface="+mj-ea"/>
                                  <a:cs typeface="+mj-cs"/>
                                </a:rPr>
                              </m:ctrlPr>
                            </m:sSubPr>
                            <m:e>
                              <m:r>
                                <a:rPr lang="en-US" altLang="zh-CN" sz="2400" b="0" i="1" smtClean="0">
                                  <a:latin typeface="Cambria Math" panose="02040503050406030204" pitchFamily="18" charset="0"/>
                                  <a:ea typeface="+mj-ea"/>
                                  <a:cs typeface="+mj-cs"/>
                                </a:rPr>
                                <m:t>𝑅</m:t>
                              </m:r>
                            </m:e>
                            <m:sub>
                              <m:r>
                                <a:rPr lang="en-US" altLang="zh-CN" sz="2400" b="0" i="1" smtClean="0">
                                  <a:latin typeface="Cambria Math" panose="02040503050406030204" pitchFamily="18" charset="0"/>
                                  <a:ea typeface="+mj-ea"/>
                                  <a:cs typeface="+mj-cs"/>
                                </a:rPr>
                                <m:t>𝑖</m:t>
                              </m:r>
                            </m:sub>
                          </m:sSub>
                        </m:den>
                      </m:f>
                    </m:oMath>
                  </m:oMathPara>
                </a14:m>
                <a:endParaRPr lang="en-US" altLang="zh-CN" sz="1800" dirty="0">
                  <a:latin typeface="Palatino" pitchFamily="2" charset="0"/>
                  <a:ea typeface="+mj-ea"/>
                  <a:cs typeface="+mj-cs"/>
                </a:endParaRPr>
              </a:p>
            </p:txBody>
          </p:sp>
        </mc:Choice>
        <mc:Fallback xmlns="">
          <p:sp>
            <p:nvSpPr>
              <p:cNvPr id="4" name="文本框 3">
                <a:extLst>
                  <a:ext uri="{FF2B5EF4-FFF2-40B4-BE49-F238E27FC236}">
                    <a16:creationId xmlns:a16="http://schemas.microsoft.com/office/drawing/2014/main" id="{C1FBBD55-D1F2-4D30-8789-B5F74A3558F4}"/>
                  </a:ext>
                </a:extLst>
              </p:cNvPr>
              <p:cNvSpPr txBox="1">
                <a:spLocks noRot="1" noChangeAspect="1" noMove="1" noResize="1" noEditPoints="1" noAdjustHandles="1" noChangeArrowheads="1" noChangeShapeType="1" noTextEdit="1"/>
              </p:cNvSpPr>
              <p:nvPr/>
            </p:nvSpPr>
            <p:spPr>
              <a:xfrm>
                <a:off x="523714" y="1690350"/>
                <a:ext cx="8424936" cy="4295728"/>
              </a:xfrm>
              <a:prstGeom prst="rect">
                <a:avLst/>
              </a:prstGeom>
              <a:blipFill>
                <a:blip r:embed="rId3"/>
                <a:stretch>
                  <a:fillRect l="-2105" t="-2065" r="-1805" b="-885"/>
                </a:stretch>
              </a:blipFill>
              <a:ln w="6350" cap="flat">
                <a:noFill/>
                <a:miter lim="800000"/>
              </a:ln>
            </p:spPr>
            <p:txBody>
              <a:bodyPr/>
              <a:lstStyle/>
              <a:p>
                <a:r>
                  <a:rPr lang="zh-CN" altLang="en-US">
                    <a:noFill/>
                  </a:rPr>
                  <a:t> </a:t>
                </a:r>
              </a:p>
            </p:txBody>
          </p:sp>
        </mc:Fallback>
      </mc:AlternateContent>
      <p:sp>
        <p:nvSpPr>
          <p:cNvPr id="6" name="Text Placeholder 5">
            <a:extLst>
              <a:ext uri="{FF2B5EF4-FFF2-40B4-BE49-F238E27FC236}">
                <a16:creationId xmlns:a16="http://schemas.microsoft.com/office/drawing/2014/main" id="{5FC00977-28D6-E640-9CFD-3E4E7AAA3316}"/>
              </a:ext>
            </a:extLst>
          </p:cNvPr>
          <p:cNvSpPr txBox="1">
            <a:spLocks/>
          </p:cNvSpPr>
          <p:nvPr/>
        </p:nvSpPr>
        <p:spPr>
          <a:xfrm>
            <a:off x="379698" y="1484499"/>
            <a:ext cx="8676963" cy="5149850"/>
          </a:xfrm>
          <a:prstGeom prst="rect">
            <a:avLst/>
          </a:prstGeom>
          <a:ln w="12700">
            <a:solidFill>
              <a:schemeClr val="bg2"/>
            </a:solidFill>
          </a:ln>
        </p:spPr>
        <p:txBody>
          <a:bodyPr wrap="square" lIns="3600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endParaRPr lang="en-US" sz="1800" dirty="0">
              <a:solidFill>
                <a:schemeClr val="tx1"/>
              </a:solidFill>
              <a:latin typeface="Palatino Linotype" panose="02040502050505030304" pitchFamily="18" charset="0"/>
            </a:endParaRPr>
          </a:p>
          <a:p>
            <a:endParaRPr lang="en-US" sz="1800" dirty="0">
              <a:solidFill>
                <a:schemeClr val="tx1"/>
              </a:solidFill>
              <a:latin typeface="Palatino Linotype" panose="02040502050505030304" pitchFamily="18" charset="0"/>
            </a:endParaRPr>
          </a:p>
        </p:txBody>
      </p:sp>
      <p:sp>
        <p:nvSpPr>
          <p:cNvPr id="7" name="Text Box 10">
            <a:extLst>
              <a:ext uri="{FF2B5EF4-FFF2-40B4-BE49-F238E27FC236}">
                <a16:creationId xmlns:a16="http://schemas.microsoft.com/office/drawing/2014/main" id="{A7C92EFF-1C00-8649-81B4-8A708C922A5B}"/>
              </a:ext>
            </a:extLst>
          </p:cNvPr>
          <p:cNvSpPr txBox="1">
            <a:spLocks noChangeArrowheads="1"/>
          </p:cNvSpPr>
          <p:nvPr>
            <p:custDataLst>
              <p:tags r:id="rId1"/>
            </p:custDataLst>
          </p:nvPr>
        </p:nvSpPr>
        <p:spPr bwMode="auto">
          <a:xfrm>
            <a:off x="379698" y="1160463"/>
            <a:ext cx="8676964" cy="288339"/>
          </a:xfrm>
          <a:prstGeom prst="rect">
            <a:avLst/>
          </a:prstGeom>
          <a:solidFill>
            <a:schemeClr val="bg2"/>
          </a:solidFill>
          <a:ln w="12700" algn="ctr">
            <a:solidFill>
              <a:schemeClr val="bg2"/>
            </a:solidFill>
            <a:miter lim="800000"/>
            <a:headEnd/>
            <a:tailEnd type="none" w="sm" len="med"/>
          </a:ln>
        </p:spPr>
        <p:txBody>
          <a:bodyPr lIns="36000" tIns="36000" rIns="36000" bIns="36000" anchor="ctr" anchorCtr="1"/>
          <a:lstStyle/>
          <a:p>
            <a:pPr algn="ctr" defTabSz="957263"/>
            <a:endParaRPr lang="en-US" sz="1400" b="1" dirty="0">
              <a:solidFill>
                <a:schemeClr val="bg1"/>
              </a:solidFill>
              <a:latin typeface="Palatino Linotype" panose="02040502050505030304" pitchFamily="18" charset="0"/>
            </a:endParaRPr>
          </a:p>
        </p:txBody>
      </p:sp>
    </p:spTree>
    <p:extLst>
      <p:ext uri="{BB962C8B-B14F-4D97-AF65-F5344CB8AC3E}">
        <p14:creationId xmlns:p14="http://schemas.microsoft.com/office/powerpoint/2010/main" val="7187864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5"/>
          <p:cNvSpPr txBox="1">
            <a:spLocks/>
          </p:cNvSpPr>
          <p:nvPr/>
        </p:nvSpPr>
        <p:spPr>
          <a:xfrm>
            <a:off x="264841" y="1160463"/>
            <a:ext cx="3535238" cy="612892"/>
          </a:xfrm>
          <a:prstGeom prst="rect">
            <a:avLst/>
          </a:prstGeom>
        </p:spPr>
        <p:txBody>
          <a:bodyPr/>
          <a:lstStyle>
            <a:lvl1pPr marL="188568" indent="-188568" algn="l" defTabSz="957925" rtl="0" eaLnBrk="1" latinLnBrk="0" hangingPunct="1">
              <a:lnSpc>
                <a:spcPct val="90000"/>
              </a:lnSpc>
              <a:spcBef>
                <a:spcPts val="1467"/>
              </a:spcBef>
              <a:buClr>
                <a:schemeClr val="bg2"/>
              </a:buClr>
              <a:buSzPct val="100000"/>
              <a:buFont typeface="Arial" pitchFamily="34" charset="0"/>
              <a:buChar char="■"/>
              <a:defRPr sz="1700" kern="1200">
                <a:solidFill>
                  <a:schemeClr val="tx1"/>
                </a:solidFill>
                <a:latin typeface="Palatino Linotype" panose="02040502050505030304" pitchFamily="18" charset="0"/>
                <a:ea typeface="+mn-ea"/>
                <a:cs typeface="Arial" pitchFamily="34" charset="0"/>
              </a:defRPr>
            </a:lvl1pPr>
            <a:lvl2pPr marL="325695" indent="-134110" algn="l" defTabSz="957925" rtl="0" eaLnBrk="1" latinLnBrk="0" hangingPunct="1">
              <a:lnSpc>
                <a:spcPct val="90000"/>
              </a:lnSpc>
              <a:spcBef>
                <a:spcPts val="943"/>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2pPr>
            <a:lvl3pPr marL="512905" indent="-188568" algn="l" defTabSz="957925" rtl="0" eaLnBrk="1" latinLnBrk="0" hangingPunct="1">
              <a:lnSpc>
                <a:spcPct val="90000"/>
              </a:lnSpc>
              <a:spcBef>
                <a:spcPts val="629"/>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3pPr>
            <a:lvl4pPr marL="663759" indent="-143689" algn="l" defTabSz="957925" rtl="0" eaLnBrk="1" latinLnBrk="0" hangingPunct="1">
              <a:lnSpc>
                <a:spcPct val="90000"/>
              </a:lnSpc>
              <a:spcBef>
                <a:spcPts val="210"/>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4pPr>
            <a:lvl5pPr marL="807071" indent="-143312" algn="l" defTabSz="957925" rtl="0" eaLnBrk="1" latinLnBrk="0" hangingPunct="1">
              <a:lnSpc>
                <a:spcPct val="90000"/>
              </a:lnSpc>
              <a:spcBef>
                <a:spcPts val="105"/>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5pPr>
            <a:lvl6pPr marL="2634295"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3258"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2220"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1183"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buNone/>
            </a:pPr>
            <a:endParaRPr lang="en-US" sz="1600" dirty="0"/>
          </a:p>
        </p:txBody>
      </p:sp>
      <p:sp>
        <p:nvSpPr>
          <p:cNvPr id="14" name="标题 1">
            <a:extLst>
              <a:ext uri="{FF2B5EF4-FFF2-40B4-BE49-F238E27FC236}">
                <a16:creationId xmlns:a16="http://schemas.microsoft.com/office/drawing/2014/main" id="{4FC0B03D-650C-46EA-B423-DF78D134EBC6}"/>
              </a:ext>
            </a:extLst>
          </p:cNvPr>
          <p:cNvSpPr>
            <a:spLocks noGrp="1"/>
          </p:cNvSpPr>
          <p:nvPr>
            <p:ph type="title"/>
          </p:nvPr>
        </p:nvSpPr>
        <p:spPr>
          <a:xfrm>
            <a:off x="264840" y="296863"/>
            <a:ext cx="9368110" cy="611187"/>
          </a:xfrm>
        </p:spPr>
        <p:txBody>
          <a:bodyPr/>
          <a:lstStyle/>
          <a:p>
            <a:r>
              <a:rPr lang="en-US" altLang="zh-CN" sz="2800" dirty="0">
                <a:latin typeface="Palatino" pitchFamily="2" charset="0"/>
              </a:rPr>
              <a:t>3.</a:t>
            </a:r>
            <a:r>
              <a:rPr lang="zh-CN" altLang="en-US" sz="2800" dirty="0">
                <a:latin typeface="Palatino" pitchFamily="2" charset="0"/>
              </a:rPr>
              <a:t> </a:t>
            </a:r>
            <a:r>
              <a:rPr lang="en-US" altLang="zh-CN" sz="2800" dirty="0">
                <a:latin typeface="Palatino" pitchFamily="2" charset="0"/>
              </a:rPr>
              <a:t>Delete features with low correlation</a:t>
            </a:r>
            <a:br>
              <a:rPr lang="en-US" altLang="zh-CN" dirty="0"/>
            </a:br>
            <a:r>
              <a:rPr lang="en-US" altLang="zh-CN" dirty="0"/>
              <a:t> </a:t>
            </a:r>
            <a:endParaRPr lang="en-US" dirty="0"/>
          </a:p>
        </p:txBody>
      </p:sp>
      <p:sp>
        <p:nvSpPr>
          <p:cNvPr id="8" name="文本框 7">
            <a:extLst>
              <a:ext uri="{FF2B5EF4-FFF2-40B4-BE49-F238E27FC236}">
                <a16:creationId xmlns:a16="http://schemas.microsoft.com/office/drawing/2014/main" id="{26F42D0F-C870-44E2-8115-80F544EBED35}"/>
              </a:ext>
            </a:extLst>
          </p:cNvPr>
          <p:cNvSpPr txBox="1"/>
          <p:nvPr/>
        </p:nvSpPr>
        <p:spPr>
          <a:xfrm>
            <a:off x="487710" y="6112498"/>
            <a:ext cx="4058053" cy="341632"/>
          </a:xfrm>
          <a:prstGeom prst="rect">
            <a:avLst/>
          </a:prstGeom>
        </p:spPr>
        <p:txBody>
          <a:bodyPr wrap="square" lIns="0" tIns="0" rIns="0" bIns="0" rtlCol="0" anchor="t" anchorCtr="0">
            <a:spAutoFit/>
          </a:bodyPr>
          <a:lstStyle/>
          <a:p>
            <a:pPr>
              <a:lnSpc>
                <a:spcPct val="90000"/>
              </a:lnSpc>
              <a:spcBef>
                <a:spcPts val="600"/>
              </a:spcBef>
              <a:buClr>
                <a:schemeClr val="bg2"/>
              </a:buClr>
            </a:pPr>
            <a:r>
              <a:rPr lang="en-US" altLang="zh-CN" sz="2400" dirty="0">
                <a:latin typeface="Palatino" pitchFamily="2" charset="0"/>
                <a:ea typeface="+mj-ea"/>
                <a:cs typeface="+mj-cs"/>
              </a:rPr>
              <a:t>Threshold</a:t>
            </a:r>
            <a:r>
              <a:rPr lang="zh-CN" altLang="en-US" sz="2400" dirty="0">
                <a:latin typeface="Palatino" pitchFamily="2" charset="0"/>
                <a:ea typeface="+mj-ea"/>
                <a:cs typeface="+mj-cs"/>
              </a:rPr>
              <a:t>：</a:t>
            </a:r>
            <a:r>
              <a:rPr lang="en-US" altLang="zh-CN" sz="2400" dirty="0">
                <a:latin typeface="Palatino" pitchFamily="2" charset="0"/>
                <a:ea typeface="+mj-ea"/>
                <a:cs typeface="+mj-cs"/>
              </a:rPr>
              <a:t>0.1 </a:t>
            </a:r>
            <a:endParaRPr lang="zh-CN" altLang="en-US" sz="2400" dirty="0">
              <a:latin typeface="Palatino" pitchFamily="2" charset="0"/>
              <a:ea typeface="+mj-ea"/>
              <a:cs typeface="+mj-cs"/>
            </a:endParaRPr>
          </a:p>
        </p:txBody>
      </p:sp>
      <p:pic>
        <p:nvPicPr>
          <p:cNvPr id="2" name="图片 1">
            <a:extLst>
              <a:ext uri="{FF2B5EF4-FFF2-40B4-BE49-F238E27FC236}">
                <a16:creationId xmlns:a16="http://schemas.microsoft.com/office/drawing/2014/main" id="{4102C59E-8021-4C9B-A603-458B537A11B0}"/>
              </a:ext>
            </a:extLst>
          </p:cNvPr>
          <p:cNvPicPr>
            <a:picLocks noChangeAspect="1"/>
          </p:cNvPicPr>
          <p:nvPr/>
        </p:nvPicPr>
        <p:blipFill>
          <a:blip r:embed="rId2"/>
          <a:stretch>
            <a:fillRect/>
          </a:stretch>
        </p:blipFill>
        <p:spPr>
          <a:xfrm>
            <a:off x="265070" y="1305557"/>
            <a:ext cx="9115627" cy="4670631"/>
          </a:xfrm>
          <a:prstGeom prst="rect">
            <a:avLst/>
          </a:prstGeom>
        </p:spPr>
      </p:pic>
    </p:spTree>
    <p:extLst>
      <p:ext uri="{BB962C8B-B14F-4D97-AF65-F5344CB8AC3E}">
        <p14:creationId xmlns:p14="http://schemas.microsoft.com/office/powerpoint/2010/main" val="426625023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5"/>
          <p:cNvSpPr txBox="1">
            <a:spLocks/>
          </p:cNvSpPr>
          <p:nvPr/>
        </p:nvSpPr>
        <p:spPr>
          <a:xfrm>
            <a:off x="264840" y="1160463"/>
            <a:ext cx="9403035" cy="5149850"/>
          </a:xfrm>
          <a:prstGeom prst="rect">
            <a:avLst/>
          </a:prstGeom>
        </p:spPr>
        <p:txBody>
          <a:bodyPr/>
          <a:lstStyle>
            <a:lvl1pPr marL="188568" indent="-188568" algn="l" defTabSz="957925" rtl="0" eaLnBrk="1" latinLnBrk="0" hangingPunct="1">
              <a:lnSpc>
                <a:spcPct val="90000"/>
              </a:lnSpc>
              <a:spcBef>
                <a:spcPts val="1467"/>
              </a:spcBef>
              <a:buClr>
                <a:schemeClr val="bg2"/>
              </a:buClr>
              <a:buSzPct val="100000"/>
              <a:buFont typeface="Arial" pitchFamily="34" charset="0"/>
              <a:buChar char="■"/>
              <a:defRPr sz="1700" kern="1200">
                <a:solidFill>
                  <a:schemeClr val="tx1"/>
                </a:solidFill>
                <a:latin typeface="Palatino Linotype" panose="02040502050505030304" pitchFamily="18" charset="0"/>
                <a:ea typeface="+mn-ea"/>
                <a:cs typeface="Arial" pitchFamily="34" charset="0"/>
              </a:defRPr>
            </a:lvl1pPr>
            <a:lvl2pPr marL="325695" indent="-134110" algn="l" defTabSz="957925" rtl="0" eaLnBrk="1" latinLnBrk="0" hangingPunct="1">
              <a:lnSpc>
                <a:spcPct val="90000"/>
              </a:lnSpc>
              <a:spcBef>
                <a:spcPts val="943"/>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2pPr>
            <a:lvl3pPr marL="512905" indent="-188568" algn="l" defTabSz="957925" rtl="0" eaLnBrk="1" latinLnBrk="0" hangingPunct="1">
              <a:lnSpc>
                <a:spcPct val="90000"/>
              </a:lnSpc>
              <a:spcBef>
                <a:spcPts val="629"/>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3pPr>
            <a:lvl4pPr marL="663759" indent="-143689" algn="l" defTabSz="957925" rtl="0" eaLnBrk="1" latinLnBrk="0" hangingPunct="1">
              <a:lnSpc>
                <a:spcPct val="90000"/>
              </a:lnSpc>
              <a:spcBef>
                <a:spcPts val="210"/>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4pPr>
            <a:lvl5pPr marL="807071" indent="-143312" algn="l" defTabSz="957925" rtl="0" eaLnBrk="1" latinLnBrk="0" hangingPunct="1">
              <a:lnSpc>
                <a:spcPct val="90000"/>
              </a:lnSpc>
              <a:spcBef>
                <a:spcPts val="105"/>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5pPr>
            <a:lvl6pPr marL="2634295"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3258"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2220"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1183"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buNone/>
            </a:pPr>
            <a:endParaRPr lang="en-US" sz="1600" dirty="0"/>
          </a:p>
        </p:txBody>
      </p:sp>
      <p:sp>
        <p:nvSpPr>
          <p:cNvPr id="14" name="标题 1">
            <a:extLst>
              <a:ext uri="{FF2B5EF4-FFF2-40B4-BE49-F238E27FC236}">
                <a16:creationId xmlns:a16="http://schemas.microsoft.com/office/drawing/2014/main" id="{4FC0B03D-650C-46EA-B423-DF78D134EBC6}"/>
              </a:ext>
            </a:extLst>
          </p:cNvPr>
          <p:cNvSpPr>
            <a:spLocks noGrp="1"/>
          </p:cNvSpPr>
          <p:nvPr>
            <p:ph type="title"/>
          </p:nvPr>
        </p:nvSpPr>
        <p:spPr>
          <a:xfrm>
            <a:off x="264840" y="296863"/>
            <a:ext cx="9368110" cy="611187"/>
          </a:xfrm>
        </p:spPr>
        <p:txBody>
          <a:bodyPr/>
          <a:lstStyle/>
          <a:p>
            <a:r>
              <a:rPr lang="en-US" altLang="zh-CN" dirty="0"/>
              <a:t>4.</a:t>
            </a:r>
            <a:r>
              <a:rPr lang="zh-CN" altLang="en-US" dirty="0"/>
              <a:t> </a:t>
            </a:r>
            <a:r>
              <a:rPr lang="en-US" altLang="zh-CN" sz="2800" dirty="0">
                <a:latin typeface="Palatino" pitchFamily="2" charset="0"/>
              </a:rPr>
              <a:t>Select the features with high Shapley value</a:t>
            </a:r>
            <a:br>
              <a:rPr lang="en-US" altLang="zh-CN" sz="2800" dirty="0">
                <a:latin typeface="Palatino" pitchFamily="2" charset="0"/>
              </a:rPr>
            </a:br>
            <a:r>
              <a:rPr lang="en-US" altLang="zh-CN" dirty="0"/>
              <a:t> </a:t>
            </a:r>
            <a:endParaRPr lang="en-US" dirty="0"/>
          </a:p>
        </p:txBody>
      </p:sp>
      <p:sp>
        <p:nvSpPr>
          <p:cNvPr id="4" name="文本框 3">
            <a:extLst>
              <a:ext uri="{FF2B5EF4-FFF2-40B4-BE49-F238E27FC236}">
                <a16:creationId xmlns:a16="http://schemas.microsoft.com/office/drawing/2014/main" id="{99CA85BC-7B92-4808-8F2E-77A7636EC509}"/>
              </a:ext>
            </a:extLst>
          </p:cNvPr>
          <p:cNvSpPr txBox="1"/>
          <p:nvPr/>
        </p:nvSpPr>
        <p:spPr>
          <a:xfrm>
            <a:off x="5816302" y="2025638"/>
            <a:ext cx="65" cy="199285"/>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endParaRPr lang="zh-CN" altLang="en-US" sz="1400" dirty="0">
              <a:latin typeface="Palatino" pitchFamily="2" charset="0"/>
              <a:cs typeface="Arial" pitchFamily="34" charset="0"/>
            </a:endParaRPr>
          </a:p>
        </p:txBody>
      </p:sp>
      <mc:AlternateContent xmlns:mc="http://schemas.openxmlformats.org/markup-compatibility/2006" xmlns:a14="http://schemas.microsoft.com/office/drawing/2010/main">
        <mc:Choice Requires="a14">
          <p:sp>
            <p:nvSpPr>
              <p:cNvPr id="7" name="文本框 6">
                <a:extLst>
                  <a:ext uri="{FF2B5EF4-FFF2-40B4-BE49-F238E27FC236}">
                    <a16:creationId xmlns:a16="http://schemas.microsoft.com/office/drawing/2014/main" id="{85124343-2B11-4C4B-912A-7A3356E63B97}"/>
                  </a:ext>
                </a:extLst>
              </p:cNvPr>
              <p:cNvSpPr txBox="1"/>
              <p:nvPr/>
            </p:nvSpPr>
            <p:spPr>
              <a:xfrm>
                <a:off x="5384254" y="1737606"/>
                <a:ext cx="4100038" cy="4730269"/>
              </a:xfrm>
              <a:prstGeom prst="rect">
                <a:avLst/>
              </a:prstGeom>
              <a:noFill/>
              <a:ln w="6350" cap="flat">
                <a:noFill/>
                <a:miter lim="800000"/>
              </a:ln>
            </p:spPr>
            <p:txBody>
              <a:bodyPr wrap="square" lIns="0" tIns="0" rIns="0" bIns="0" rtlCol="0" anchor="t" anchorCtr="0">
                <a:spAutoFit/>
              </a:bodyPr>
              <a:lstStyle/>
              <a:p>
                <a:pPr marL="342900" lvl="1" indent="-342900" defTabSz="957263" fontAlgn="base">
                  <a:lnSpc>
                    <a:spcPct val="90000"/>
                  </a:lnSpc>
                  <a:spcBef>
                    <a:spcPts val="400"/>
                  </a:spcBef>
                  <a:buClr>
                    <a:schemeClr val="bg2"/>
                  </a:buClr>
                  <a:buFont typeface="Wingdings" pitchFamily="2" charset="2"/>
                  <a:buChar char="ü"/>
                </a:pPr>
                <a:r>
                  <a:rPr lang="en-US" altLang="zh-CN" sz="2200" dirty="0">
                    <a:latin typeface="Palatino" pitchFamily="2" charset="0"/>
                    <a:ea typeface="+mj-ea"/>
                    <a:cs typeface="+mj-cs"/>
                  </a:rPr>
                  <a:t>Shapley value </a:t>
                </a:r>
              </a:p>
              <a:p>
                <a:pPr marL="821862" lvl="2" indent="-342900" defTabSz="957263" fontAlgn="base">
                  <a:lnSpc>
                    <a:spcPct val="90000"/>
                  </a:lnSpc>
                  <a:spcBef>
                    <a:spcPts val="400"/>
                  </a:spcBef>
                  <a:buClr>
                    <a:schemeClr val="bg2"/>
                  </a:buClr>
                  <a:buFont typeface="Wingdings" pitchFamily="2" charset="2"/>
                  <a:buChar char="Ø"/>
                </a:pPr>
                <a:r>
                  <a:rPr lang="en-US" altLang="zh-CN" sz="2200" dirty="0">
                    <a:latin typeface="Palatino" pitchFamily="2" charset="0"/>
                    <a:ea typeface="+mj-ea"/>
                    <a:cs typeface="+mj-cs"/>
                  </a:rPr>
                  <a:t>One way to distribute the total gains to each feature</a:t>
                </a:r>
              </a:p>
              <a:p>
                <a:pPr marL="821862" lvl="2" indent="-342900" defTabSz="957263" fontAlgn="base">
                  <a:lnSpc>
                    <a:spcPct val="90000"/>
                  </a:lnSpc>
                  <a:spcBef>
                    <a:spcPts val="400"/>
                  </a:spcBef>
                  <a:buClr>
                    <a:schemeClr val="bg2"/>
                  </a:buClr>
                  <a:buFont typeface="Wingdings" pitchFamily="2" charset="2"/>
                  <a:buChar char="Ø"/>
                </a:pPr>
                <a:r>
                  <a:rPr lang="en-US" altLang="zh-CN" sz="2200" dirty="0">
                    <a:latin typeface="Palatino" pitchFamily="2" charset="0"/>
                    <a:ea typeface="+mj-ea"/>
                    <a:cs typeface="+mj-cs"/>
                  </a:rPr>
                  <a:t>Assumption:</a:t>
                </a:r>
                <a:r>
                  <a:rPr lang="zh-CN" altLang="en-US" sz="2200" dirty="0">
                    <a:latin typeface="Palatino" pitchFamily="2" charset="0"/>
                    <a:ea typeface="+mj-ea"/>
                    <a:cs typeface="+mj-cs"/>
                  </a:rPr>
                  <a:t> </a:t>
                </a:r>
                <a:r>
                  <a:rPr lang="en-US" altLang="zh-CN" sz="2200" dirty="0">
                    <a:latin typeface="Palatino" pitchFamily="2" charset="0"/>
                    <a:ea typeface="+mj-ea"/>
                    <a:cs typeface="+mj-cs"/>
                  </a:rPr>
                  <a:t>all valued </a:t>
                </a:r>
              </a:p>
              <a:p>
                <a:pPr marL="180000" lvl="1" indent="-180000" defTabSz="957263" fontAlgn="base">
                  <a:lnSpc>
                    <a:spcPct val="90000"/>
                  </a:lnSpc>
                  <a:spcBef>
                    <a:spcPts val="400"/>
                  </a:spcBef>
                  <a:buClr>
                    <a:schemeClr val="bg2"/>
                  </a:buClr>
                  <a:buFont typeface="Arial" charset="0"/>
                  <a:buChar char="•"/>
                </a:pPr>
                <a:endParaRPr lang="en-US" altLang="zh-CN" sz="2200" dirty="0">
                  <a:latin typeface="Palatino" pitchFamily="2" charset="0"/>
                  <a:ea typeface="+mj-ea"/>
                  <a:cs typeface="+mj-cs"/>
                </a:endParaRPr>
              </a:p>
              <a:p>
                <a:pPr marL="342900" lvl="1" indent="-342900" defTabSz="957263" fontAlgn="base">
                  <a:lnSpc>
                    <a:spcPct val="90000"/>
                  </a:lnSpc>
                  <a:spcBef>
                    <a:spcPts val="400"/>
                  </a:spcBef>
                  <a:buClr>
                    <a:schemeClr val="bg2"/>
                  </a:buClr>
                  <a:buFont typeface="Wingdings" pitchFamily="2" charset="2"/>
                  <a:buChar char="ü"/>
                </a:pPr>
                <a:r>
                  <a:rPr lang="en-US" altLang="zh-CN" sz="2200" dirty="0">
                    <a:latin typeface="Palatino" pitchFamily="2" charset="0"/>
                    <a:ea typeface="+mj-ea"/>
                    <a:cs typeface="+mj-cs"/>
                  </a:rPr>
                  <a:t>Shapley value of feature in a given model </a:t>
                </a:r>
                <a14:m>
                  <m:oMath xmlns:m="http://schemas.openxmlformats.org/officeDocument/2006/math">
                    <m:d>
                      <m:dPr>
                        <m:ctrlPr>
                          <a:rPr lang="en-US" altLang="zh-CN" sz="2200" i="1">
                            <a:latin typeface="Cambria Math" panose="02040503050406030204" pitchFamily="18" charset="0"/>
                            <a:ea typeface="+mj-ea"/>
                            <a:cs typeface="+mj-cs"/>
                          </a:rPr>
                        </m:ctrlPr>
                      </m:dPr>
                      <m:e>
                        <m:r>
                          <a:rPr lang="en-US" altLang="zh-CN" sz="2200">
                            <a:latin typeface="Cambria Math" panose="02040503050406030204" pitchFamily="18" charset="0"/>
                            <a:ea typeface="+mj-ea"/>
                            <a:cs typeface="+mj-cs"/>
                          </a:rPr>
                          <m:t>𝑣</m:t>
                        </m:r>
                        <m:r>
                          <a:rPr lang="en-US" altLang="zh-CN" sz="2200">
                            <a:latin typeface="Cambria Math" panose="02040503050406030204" pitchFamily="18" charset="0"/>
                            <a:ea typeface="+mj-ea"/>
                            <a:cs typeface="+mj-cs"/>
                          </a:rPr>
                          <m:t>,</m:t>
                        </m:r>
                        <m:r>
                          <a:rPr lang="en-US" altLang="zh-CN" sz="2200">
                            <a:latin typeface="Cambria Math" panose="02040503050406030204" pitchFamily="18" charset="0"/>
                            <a:ea typeface="+mj-ea"/>
                            <a:cs typeface="+mj-cs"/>
                          </a:rPr>
                          <m:t>𝑁</m:t>
                        </m:r>
                      </m:e>
                    </m:d>
                  </m:oMath>
                </a14:m>
                <a:r>
                  <a:rPr lang="en-US" altLang="zh-CN" sz="2200" dirty="0">
                    <a:latin typeface="Palatino" pitchFamily="2" charset="0"/>
                    <a:ea typeface="+mj-ea"/>
                    <a:cs typeface="+mj-cs"/>
                  </a:rPr>
                  <a:t> :</a:t>
                </a:r>
              </a:p>
              <a:p>
                <a:pPr marL="180000" lvl="1" indent="-180000" defTabSz="957263" fontAlgn="base">
                  <a:lnSpc>
                    <a:spcPct val="90000"/>
                  </a:lnSpc>
                  <a:spcBef>
                    <a:spcPts val="400"/>
                  </a:spcBef>
                  <a:buClr>
                    <a:schemeClr val="bg2"/>
                  </a:buClr>
                  <a:buFont typeface="Arial" charset="0"/>
                  <a:buChar char="•"/>
                </a:pPr>
                <a:endParaRPr lang="en-US" altLang="zh-CN" sz="2200" dirty="0">
                  <a:latin typeface="Palatino" pitchFamily="2" charset="0"/>
                  <a:ea typeface="+mj-ea"/>
                  <a:cs typeface="+mj-cs"/>
                </a:endParaRPr>
              </a:p>
              <a:p>
                <a:pPr marL="180000" lvl="1" indent="-180000" defTabSz="957263" fontAlgn="base">
                  <a:lnSpc>
                    <a:spcPct val="90000"/>
                  </a:lnSpc>
                  <a:spcBef>
                    <a:spcPts val="400"/>
                  </a:spcBef>
                  <a:buClr>
                    <a:schemeClr val="bg2"/>
                  </a:buClr>
                  <a:buFont typeface="Arial" charset="0"/>
                  <a:buChar char="•"/>
                </a:pPr>
                <a:endParaRPr lang="en-US" altLang="zh-CN" sz="2200" dirty="0">
                  <a:latin typeface="Palatino" pitchFamily="2" charset="0"/>
                  <a:ea typeface="+mj-ea"/>
                  <a:cs typeface="+mj-cs"/>
                </a:endParaRPr>
              </a:p>
              <a:p>
                <a:pPr marL="180000" lvl="1" indent="-180000" defTabSz="957263" fontAlgn="base">
                  <a:lnSpc>
                    <a:spcPct val="90000"/>
                  </a:lnSpc>
                  <a:spcBef>
                    <a:spcPts val="400"/>
                  </a:spcBef>
                  <a:buClr>
                    <a:schemeClr val="bg2"/>
                  </a:buClr>
                  <a:buFont typeface="Arial" charset="0"/>
                  <a:buChar char="•"/>
                </a:pPr>
                <a:endParaRPr lang="en-US" altLang="zh-CN" sz="2200" dirty="0">
                  <a:latin typeface="Palatino" pitchFamily="2" charset="0"/>
                  <a:ea typeface="+mj-ea"/>
                  <a:cs typeface="+mj-cs"/>
                </a:endParaRPr>
              </a:p>
              <a:p>
                <a:pPr marL="180000" lvl="1" indent="-180000" defTabSz="957263" fontAlgn="base">
                  <a:lnSpc>
                    <a:spcPct val="90000"/>
                  </a:lnSpc>
                  <a:spcBef>
                    <a:spcPts val="400"/>
                  </a:spcBef>
                  <a:buClr>
                    <a:schemeClr val="bg2"/>
                  </a:buClr>
                  <a:buFont typeface="Arial" charset="0"/>
                  <a:buChar char="•"/>
                </a:pPr>
                <a:endParaRPr lang="en-US" altLang="zh-CN" sz="2200" dirty="0">
                  <a:latin typeface="Palatino" pitchFamily="2" charset="0"/>
                  <a:ea typeface="+mj-ea"/>
                  <a:cs typeface="+mj-cs"/>
                </a:endParaRPr>
              </a:p>
              <a:p>
                <a:pPr marL="342900" lvl="1" indent="-342900" defTabSz="957263" fontAlgn="base">
                  <a:lnSpc>
                    <a:spcPct val="90000"/>
                  </a:lnSpc>
                  <a:spcBef>
                    <a:spcPts val="400"/>
                  </a:spcBef>
                  <a:buClr>
                    <a:schemeClr val="bg2"/>
                  </a:buClr>
                  <a:buFont typeface="Wingdings" pitchFamily="2" charset="2"/>
                  <a:buChar char="Ø"/>
                </a:pPr>
                <a:r>
                  <a:rPr lang="en-US" altLang="zh-CN" sz="2200" dirty="0">
                    <a:latin typeface="Palatino" pitchFamily="2" charset="0"/>
                    <a:ea typeface="+mj-ea"/>
                    <a:cs typeface="+mj-cs"/>
                  </a:rPr>
                  <a:t>Sum of marginal contribution in each feature set</a:t>
                </a:r>
              </a:p>
              <a:p>
                <a:pPr marL="0" lvl="1" defTabSz="957263" fontAlgn="base">
                  <a:lnSpc>
                    <a:spcPct val="90000"/>
                  </a:lnSpc>
                  <a:spcBef>
                    <a:spcPts val="400"/>
                  </a:spcBef>
                  <a:buClr>
                    <a:schemeClr val="bg2"/>
                  </a:buClr>
                </a:pPr>
                <a:endParaRPr lang="en-US" altLang="zh-CN" sz="1800" dirty="0">
                  <a:latin typeface="Palatino" pitchFamily="2" charset="0"/>
                  <a:ea typeface="+mj-ea"/>
                  <a:cs typeface="+mj-cs"/>
                </a:endParaRPr>
              </a:p>
            </p:txBody>
          </p:sp>
        </mc:Choice>
        <mc:Fallback xmlns="">
          <p:sp>
            <p:nvSpPr>
              <p:cNvPr id="7" name="文本框 6">
                <a:extLst>
                  <a:ext uri="{FF2B5EF4-FFF2-40B4-BE49-F238E27FC236}">
                    <a16:creationId xmlns:a16="http://schemas.microsoft.com/office/drawing/2014/main" id="{85124343-2B11-4C4B-912A-7A3356E63B97}"/>
                  </a:ext>
                </a:extLst>
              </p:cNvPr>
              <p:cNvSpPr txBox="1">
                <a:spLocks noRot="1" noChangeAspect="1" noMove="1" noResize="1" noEditPoints="1" noAdjustHandles="1" noChangeArrowheads="1" noChangeShapeType="1" noTextEdit="1"/>
              </p:cNvSpPr>
              <p:nvPr/>
            </p:nvSpPr>
            <p:spPr>
              <a:xfrm>
                <a:off x="5384254" y="1737606"/>
                <a:ext cx="4100038" cy="4730269"/>
              </a:xfrm>
              <a:prstGeom prst="rect">
                <a:avLst/>
              </a:prstGeom>
              <a:blipFill>
                <a:blip r:embed="rId4"/>
                <a:stretch>
                  <a:fillRect l="-3704" t="-2145" r="-3086"/>
                </a:stretch>
              </a:blipFill>
              <a:ln w="6350" cap="flat">
                <a:noFill/>
                <a:miter lim="800000"/>
              </a:ln>
            </p:spPr>
            <p:txBody>
              <a:bodyPr/>
              <a:lstStyle/>
              <a:p>
                <a:r>
                  <a:rPr lang="zh-CN" altLang="en-US">
                    <a:noFill/>
                  </a:rPr>
                  <a:t> </a:t>
                </a:r>
              </a:p>
            </p:txBody>
          </p:sp>
        </mc:Fallback>
      </mc:AlternateContent>
      <p:pic>
        <p:nvPicPr>
          <p:cNvPr id="8" name="图片 7">
            <a:extLst>
              <a:ext uri="{FF2B5EF4-FFF2-40B4-BE49-F238E27FC236}">
                <a16:creationId xmlns:a16="http://schemas.microsoft.com/office/drawing/2014/main" id="{BE4EB267-F55D-4ECC-8ECF-4C27855D4D34}"/>
              </a:ext>
            </a:extLst>
          </p:cNvPr>
          <p:cNvPicPr>
            <a:picLocks noChangeAspect="1"/>
          </p:cNvPicPr>
          <p:nvPr/>
        </p:nvPicPr>
        <p:blipFill rotWithShape="1">
          <a:blip r:embed="rId5"/>
          <a:srcRect t="5454"/>
          <a:stretch/>
        </p:blipFill>
        <p:spPr>
          <a:xfrm>
            <a:off x="5220592" y="4293890"/>
            <a:ext cx="4272330" cy="792088"/>
          </a:xfrm>
          <a:prstGeom prst="rect">
            <a:avLst/>
          </a:prstGeom>
        </p:spPr>
      </p:pic>
      <p:sp>
        <p:nvSpPr>
          <p:cNvPr id="11" name="Text Placeholder 5">
            <a:extLst>
              <a:ext uri="{FF2B5EF4-FFF2-40B4-BE49-F238E27FC236}">
                <a16:creationId xmlns:a16="http://schemas.microsoft.com/office/drawing/2014/main" id="{3E2FF52F-EF37-F547-8826-70E4593527B1}"/>
              </a:ext>
            </a:extLst>
          </p:cNvPr>
          <p:cNvSpPr txBox="1">
            <a:spLocks/>
          </p:cNvSpPr>
          <p:nvPr/>
        </p:nvSpPr>
        <p:spPr>
          <a:xfrm>
            <a:off x="5277618" y="1635598"/>
            <a:ext cx="4206676" cy="4566504"/>
          </a:xfrm>
          <a:prstGeom prst="rect">
            <a:avLst/>
          </a:prstGeom>
          <a:ln w="12700">
            <a:solidFill>
              <a:schemeClr val="bg2"/>
            </a:solidFill>
          </a:ln>
        </p:spPr>
        <p:txBody>
          <a:bodyPr wrap="square" lIns="3600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endParaRPr lang="en-US" sz="1800" dirty="0">
              <a:solidFill>
                <a:schemeClr val="tx1"/>
              </a:solidFill>
              <a:latin typeface="Palatino Linotype" panose="02040502050505030304" pitchFamily="18" charset="0"/>
            </a:endParaRPr>
          </a:p>
          <a:p>
            <a:endParaRPr lang="en-US" sz="1800" dirty="0">
              <a:solidFill>
                <a:schemeClr val="tx1"/>
              </a:solidFill>
              <a:latin typeface="Palatino Linotype" panose="02040502050505030304" pitchFamily="18" charset="0"/>
            </a:endParaRPr>
          </a:p>
        </p:txBody>
      </p:sp>
      <p:sp>
        <p:nvSpPr>
          <p:cNvPr id="12" name="Text Box 10">
            <a:extLst>
              <a:ext uri="{FF2B5EF4-FFF2-40B4-BE49-F238E27FC236}">
                <a16:creationId xmlns:a16="http://schemas.microsoft.com/office/drawing/2014/main" id="{91E2ACF5-FE2F-1041-8AB9-04F8DD0728CD}"/>
              </a:ext>
            </a:extLst>
          </p:cNvPr>
          <p:cNvSpPr txBox="1">
            <a:spLocks noChangeArrowheads="1"/>
          </p:cNvSpPr>
          <p:nvPr>
            <p:custDataLst>
              <p:tags r:id="rId1"/>
            </p:custDataLst>
          </p:nvPr>
        </p:nvSpPr>
        <p:spPr bwMode="auto">
          <a:xfrm>
            <a:off x="5277617" y="1384342"/>
            <a:ext cx="4206675" cy="251256"/>
          </a:xfrm>
          <a:prstGeom prst="rect">
            <a:avLst/>
          </a:prstGeom>
          <a:solidFill>
            <a:schemeClr val="bg2"/>
          </a:solidFill>
          <a:ln w="12700" algn="ctr">
            <a:solidFill>
              <a:schemeClr val="bg2"/>
            </a:solidFill>
            <a:miter lim="800000"/>
            <a:headEnd/>
            <a:tailEnd type="none" w="sm" len="med"/>
          </a:ln>
        </p:spPr>
        <p:txBody>
          <a:bodyPr lIns="36000" tIns="36000" rIns="36000" bIns="36000" anchor="ctr" anchorCtr="1"/>
          <a:lstStyle/>
          <a:p>
            <a:pPr algn="ctr" defTabSz="957263"/>
            <a:endParaRPr lang="en-US" sz="1400" b="1" dirty="0">
              <a:solidFill>
                <a:schemeClr val="bg1"/>
              </a:solidFill>
              <a:latin typeface="Palatino Linotype" panose="02040502050505030304" pitchFamily="18" charset="0"/>
            </a:endParaRPr>
          </a:p>
        </p:txBody>
      </p:sp>
      <p:pic>
        <p:nvPicPr>
          <p:cNvPr id="5" name="图片 4">
            <a:extLst>
              <a:ext uri="{FF2B5EF4-FFF2-40B4-BE49-F238E27FC236}">
                <a16:creationId xmlns:a16="http://schemas.microsoft.com/office/drawing/2014/main" id="{651B507B-74B0-45E0-9A57-9E149FA4A769}"/>
              </a:ext>
            </a:extLst>
          </p:cNvPr>
          <p:cNvPicPr>
            <a:picLocks noChangeAspect="1"/>
          </p:cNvPicPr>
          <p:nvPr/>
        </p:nvPicPr>
        <p:blipFill rotWithShape="1">
          <a:blip r:embed="rId6"/>
          <a:srcRect l="661" r="4558"/>
          <a:stretch/>
        </p:blipFill>
        <p:spPr>
          <a:xfrm>
            <a:off x="36960" y="1552677"/>
            <a:ext cx="5167274" cy="4566503"/>
          </a:xfrm>
          <a:prstGeom prst="rect">
            <a:avLst/>
          </a:prstGeom>
        </p:spPr>
      </p:pic>
    </p:spTree>
    <p:extLst>
      <p:ext uri="{BB962C8B-B14F-4D97-AF65-F5344CB8AC3E}">
        <p14:creationId xmlns:p14="http://schemas.microsoft.com/office/powerpoint/2010/main" val="27226820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5"/>
          <p:cNvSpPr txBox="1">
            <a:spLocks/>
          </p:cNvSpPr>
          <p:nvPr/>
        </p:nvSpPr>
        <p:spPr>
          <a:xfrm>
            <a:off x="264840" y="1160463"/>
            <a:ext cx="9403035" cy="5149850"/>
          </a:xfrm>
          <a:prstGeom prst="rect">
            <a:avLst/>
          </a:prstGeom>
        </p:spPr>
        <p:txBody>
          <a:bodyPr/>
          <a:lstStyle>
            <a:lvl1pPr marL="188568" indent="-188568" algn="l" defTabSz="957925" rtl="0" eaLnBrk="1" latinLnBrk="0" hangingPunct="1">
              <a:lnSpc>
                <a:spcPct val="90000"/>
              </a:lnSpc>
              <a:spcBef>
                <a:spcPts val="1467"/>
              </a:spcBef>
              <a:buClr>
                <a:schemeClr val="bg2"/>
              </a:buClr>
              <a:buSzPct val="100000"/>
              <a:buFont typeface="Arial" pitchFamily="34" charset="0"/>
              <a:buChar char="■"/>
              <a:defRPr sz="1700" kern="1200">
                <a:solidFill>
                  <a:schemeClr val="tx1"/>
                </a:solidFill>
                <a:latin typeface="Palatino Linotype" panose="02040502050505030304" pitchFamily="18" charset="0"/>
                <a:ea typeface="+mn-ea"/>
                <a:cs typeface="Arial" pitchFamily="34" charset="0"/>
              </a:defRPr>
            </a:lvl1pPr>
            <a:lvl2pPr marL="325695" indent="-134110" algn="l" defTabSz="957925" rtl="0" eaLnBrk="1" latinLnBrk="0" hangingPunct="1">
              <a:lnSpc>
                <a:spcPct val="90000"/>
              </a:lnSpc>
              <a:spcBef>
                <a:spcPts val="943"/>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2pPr>
            <a:lvl3pPr marL="512905" indent="-188568" algn="l" defTabSz="957925" rtl="0" eaLnBrk="1" latinLnBrk="0" hangingPunct="1">
              <a:lnSpc>
                <a:spcPct val="90000"/>
              </a:lnSpc>
              <a:spcBef>
                <a:spcPts val="629"/>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3pPr>
            <a:lvl4pPr marL="663759" indent="-143689" algn="l" defTabSz="957925" rtl="0" eaLnBrk="1" latinLnBrk="0" hangingPunct="1">
              <a:lnSpc>
                <a:spcPct val="90000"/>
              </a:lnSpc>
              <a:spcBef>
                <a:spcPts val="210"/>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4pPr>
            <a:lvl5pPr marL="807071" indent="-143312" algn="l" defTabSz="957925" rtl="0" eaLnBrk="1" latinLnBrk="0" hangingPunct="1">
              <a:lnSpc>
                <a:spcPct val="90000"/>
              </a:lnSpc>
              <a:spcBef>
                <a:spcPts val="105"/>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5pPr>
            <a:lvl6pPr marL="2634295"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3258"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2220"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1183"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buNone/>
            </a:pPr>
            <a:endParaRPr lang="en-US" sz="1600" dirty="0"/>
          </a:p>
        </p:txBody>
      </p:sp>
      <p:sp>
        <p:nvSpPr>
          <p:cNvPr id="14" name="标题 1">
            <a:extLst>
              <a:ext uri="{FF2B5EF4-FFF2-40B4-BE49-F238E27FC236}">
                <a16:creationId xmlns:a16="http://schemas.microsoft.com/office/drawing/2014/main" id="{4FC0B03D-650C-46EA-B423-DF78D134EBC6}"/>
              </a:ext>
            </a:extLst>
          </p:cNvPr>
          <p:cNvSpPr>
            <a:spLocks noGrp="1"/>
          </p:cNvSpPr>
          <p:nvPr>
            <p:ph type="title"/>
          </p:nvPr>
        </p:nvSpPr>
        <p:spPr>
          <a:xfrm>
            <a:off x="264840" y="153430"/>
            <a:ext cx="7243650" cy="611187"/>
          </a:xfrm>
        </p:spPr>
        <p:txBody>
          <a:bodyPr/>
          <a:lstStyle/>
          <a:p>
            <a:r>
              <a:rPr lang="en-US" altLang="zh-CN" sz="2800" dirty="0">
                <a:latin typeface="Palatino" pitchFamily="2" charset="0"/>
              </a:rPr>
              <a:t>5.</a:t>
            </a:r>
            <a:r>
              <a:rPr lang="zh-CN" altLang="en-US" sz="2800" dirty="0">
                <a:latin typeface="Palatino" pitchFamily="2" charset="0"/>
              </a:rPr>
              <a:t> </a:t>
            </a:r>
            <a:r>
              <a:rPr lang="en-US" altLang="zh-CN" sz="2800" dirty="0">
                <a:latin typeface="Palatino" pitchFamily="2" charset="0"/>
              </a:rPr>
              <a:t>Select the features with high permutation importance</a:t>
            </a:r>
            <a:br>
              <a:rPr lang="en-US" altLang="zh-CN" dirty="0"/>
            </a:br>
            <a:r>
              <a:rPr lang="en-US" altLang="zh-CN" dirty="0"/>
              <a:t> </a:t>
            </a:r>
            <a:endParaRPr lang="en-US" dirty="0"/>
          </a:p>
        </p:txBody>
      </p:sp>
      <p:sp>
        <p:nvSpPr>
          <p:cNvPr id="2" name="文本框 1">
            <a:extLst>
              <a:ext uri="{FF2B5EF4-FFF2-40B4-BE49-F238E27FC236}">
                <a16:creationId xmlns:a16="http://schemas.microsoft.com/office/drawing/2014/main" id="{6C0A5414-201C-4F84-BFA3-C4FB549931B6}"/>
              </a:ext>
            </a:extLst>
          </p:cNvPr>
          <p:cNvSpPr txBox="1"/>
          <p:nvPr/>
        </p:nvSpPr>
        <p:spPr>
          <a:xfrm>
            <a:off x="341665" y="1377566"/>
            <a:ext cx="4466525" cy="5642570"/>
          </a:xfrm>
          <a:prstGeom prst="rect">
            <a:avLst/>
          </a:prstGeom>
          <a:noFill/>
          <a:ln w="6350" cap="flat">
            <a:noFill/>
            <a:miter lim="800000"/>
          </a:ln>
        </p:spPr>
        <p:txBody>
          <a:bodyPr wrap="square" lIns="0" tIns="0" rIns="0" bIns="0" rtlCol="0" anchor="t" anchorCtr="0">
            <a:spAutoFit/>
          </a:bodyPr>
          <a:lstStyle/>
          <a:p>
            <a:pPr marL="285750" lvl="1" indent="-285750" defTabSz="957263" fontAlgn="base">
              <a:spcBef>
                <a:spcPts val="400"/>
              </a:spcBef>
              <a:buClr>
                <a:schemeClr val="bg2"/>
              </a:buClr>
              <a:buFont typeface="Wingdings" pitchFamily="2" charset="2"/>
              <a:buChar char="ü"/>
            </a:pPr>
            <a:r>
              <a:rPr lang="en-US" altLang="zh-CN" sz="2300" dirty="0">
                <a:latin typeface="Palatino" pitchFamily="2" charset="0"/>
                <a:ea typeface="+mj-ea"/>
                <a:cs typeface="+mj-cs"/>
              </a:rPr>
              <a:t>Feature values:</a:t>
            </a:r>
            <a:r>
              <a:rPr lang="zh-CN" altLang="en-US" sz="2300" dirty="0">
                <a:latin typeface="Palatino" pitchFamily="2" charset="0"/>
                <a:ea typeface="+mj-ea"/>
                <a:cs typeface="+mj-cs"/>
              </a:rPr>
              <a:t> </a:t>
            </a:r>
            <a:endParaRPr lang="en-US" altLang="zh-CN" sz="2300" dirty="0">
              <a:latin typeface="Palatino" pitchFamily="2" charset="0"/>
              <a:ea typeface="+mj-ea"/>
              <a:cs typeface="+mj-cs"/>
            </a:endParaRPr>
          </a:p>
          <a:p>
            <a:pPr marL="764712" lvl="2" indent="-285750" defTabSz="957263" fontAlgn="base">
              <a:spcBef>
                <a:spcPts val="400"/>
              </a:spcBef>
              <a:buClr>
                <a:schemeClr val="bg2"/>
              </a:buClr>
              <a:buFont typeface="Wingdings" pitchFamily="2" charset="2"/>
              <a:buChar char="Ø"/>
            </a:pPr>
            <a:r>
              <a:rPr lang="en-US" altLang="zh-CN" sz="2300" dirty="0">
                <a:latin typeface="Palatino" pitchFamily="2" charset="0"/>
                <a:ea typeface="+mj-ea"/>
                <a:cs typeface="+mj-cs"/>
              </a:rPr>
              <a:t>Randomly shuffled</a:t>
            </a:r>
          </a:p>
          <a:p>
            <a:pPr marL="764712" lvl="2" indent="-285750" defTabSz="957263" fontAlgn="base">
              <a:spcBef>
                <a:spcPts val="400"/>
              </a:spcBef>
              <a:buClr>
                <a:schemeClr val="bg2"/>
              </a:buClr>
              <a:buFont typeface="Wingdings" pitchFamily="2" charset="2"/>
              <a:buChar char="Ø"/>
            </a:pPr>
            <a:r>
              <a:rPr lang="en-US" altLang="zh-CN" sz="2300" dirty="0">
                <a:latin typeface="Palatino" pitchFamily="2" charset="0"/>
                <a:ea typeface="+mj-ea"/>
                <a:cs typeface="+mj-cs"/>
              </a:rPr>
              <a:t>One column at a time</a:t>
            </a:r>
          </a:p>
          <a:p>
            <a:pPr marL="764712" lvl="2" indent="-285750" defTabSz="957263" fontAlgn="base">
              <a:spcBef>
                <a:spcPts val="400"/>
              </a:spcBef>
              <a:buClr>
                <a:schemeClr val="bg2"/>
              </a:buClr>
              <a:buFont typeface="Wingdings" pitchFamily="2" charset="2"/>
              <a:buChar char="Ø"/>
            </a:pPr>
            <a:r>
              <a:rPr lang="en-US" altLang="zh-CN" sz="2300" dirty="0">
                <a:latin typeface="Palatino" pitchFamily="2" charset="0"/>
                <a:ea typeface="+mj-ea"/>
                <a:cs typeface="+mj-cs"/>
              </a:rPr>
              <a:t>Performance of the model is measured before and after</a:t>
            </a:r>
          </a:p>
          <a:p>
            <a:pPr marL="764712" lvl="2" indent="-285750" defTabSz="957263" fontAlgn="base">
              <a:spcBef>
                <a:spcPts val="400"/>
              </a:spcBef>
              <a:buClr>
                <a:schemeClr val="bg2"/>
              </a:buClr>
              <a:buFont typeface="Wingdings" pitchFamily="2" charset="2"/>
              <a:buChar char="Ø"/>
            </a:pPr>
            <a:endParaRPr lang="en-US" altLang="zh-CN" sz="2300" dirty="0">
              <a:latin typeface="Palatino" pitchFamily="2" charset="0"/>
              <a:ea typeface="+mj-ea"/>
              <a:cs typeface="+mj-cs"/>
            </a:endParaRPr>
          </a:p>
          <a:p>
            <a:pPr marL="285750" lvl="1" indent="-285750" defTabSz="957263" fontAlgn="base">
              <a:spcBef>
                <a:spcPts val="400"/>
              </a:spcBef>
              <a:buClr>
                <a:schemeClr val="bg2"/>
              </a:buClr>
              <a:buFont typeface="Wingdings" pitchFamily="2" charset="2"/>
              <a:buChar char="ü"/>
            </a:pPr>
            <a:r>
              <a:rPr lang="en-US" altLang="zh-CN" sz="2300" dirty="0">
                <a:latin typeface="Palatino" pitchFamily="2" charset="0"/>
                <a:ea typeface="+mj-ea"/>
                <a:cs typeface="+mj-cs"/>
              </a:rPr>
              <a:t>Scores:</a:t>
            </a:r>
          </a:p>
          <a:p>
            <a:pPr marL="764712" lvl="2" indent="-285750" defTabSz="957263" fontAlgn="base">
              <a:spcBef>
                <a:spcPts val="400"/>
              </a:spcBef>
              <a:buClr>
                <a:schemeClr val="bg2"/>
              </a:buClr>
              <a:buFont typeface="Wingdings" pitchFamily="2" charset="2"/>
              <a:buChar char="Ø"/>
            </a:pPr>
            <a:r>
              <a:rPr lang="en-US" altLang="zh-CN" sz="2300" dirty="0">
                <a:latin typeface="Palatino" pitchFamily="2" charset="0"/>
                <a:ea typeface="+mj-ea"/>
                <a:cs typeface="+mj-cs"/>
              </a:rPr>
              <a:t>Represent the change in the performance of a trained model, after permutation</a:t>
            </a:r>
          </a:p>
          <a:p>
            <a:pPr marL="764712" lvl="2" indent="-285750" defTabSz="957263" fontAlgn="base">
              <a:spcBef>
                <a:spcPts val="400"/>
              </a:spcBef>
              <a:buClr>
                <a:schemeClr val="bg2"/>
              </a:buClr>
              <a:buFont typeface="Wingdings" pitchFamily="2" charset="2"/>
              <a:buChar char="Ø"/>
            </a:pPr>
            <a:r>
              <a:rPr lang="en-US" altLang="zh-CN" sz="2300" dirty="0">
                <a:latin typeface="Palatino" pitchFamily="2" charset="0"/>
                <a:ea typeface="+mj-ea"/>
                <a:cs typeface="+mj-cs"/>
              </a:rPr>
              <a:t>Important features → usually more sensitive to the shuffling process</a:t>
            </a:r>
            <a:r>
              <a:rPr lang="zh-CN" altLang="en-US" sz="2300" dirty="0">
                <a:latin typeface="Palatino" pitchFamily="2" charset="0"/>
                <a:ea typeface="+mj-ea"/>
                <a:cs typeface="+mj-cs"/>
              </a:rPr>
              <a:t> </a:t>
            </a:r>
            <a:r>
              <a:rPr lang="en-US" altLang="zh-CN" sz="2300" dirty="0">
                <a:latin typeface="Palatino" pitchFamily="2" charset="0"/>
                <a:ea typeface="+mj-ea"/>
                <a:cs typeface="+mj-cs"/>
              </a:rPr>
              <a:t>→</a:t>
            </a:r>
            <a:r>
              <a:rPr lang="zh-CN" altLang="en-US" sz="2300" dirty="0">
                <a:latin typeface="Palatino" pitchFamily="2" charset="0"/>
                <a:ea typeface="+mj-ea"/>
                <a:cs typeface="+mj-cs"/>
              </a:rPr>
              <a:t> </a:t>
            </a:r>
            <a:r>
              <a:rPr lang="en-US" altLang="zh-CN" sz="2300" dirty="0">
                <a:latin typeface="Palatino" pitchFamily="2" charset="0"/>
                <a:ea typeface="+mj-ea"/>
                <a:cs typeface="+mj-cs"/>
              </a:rPr>
              <a:t>higher importance scores</a:t>
            </a:r>
          </a:p>
          <a:p>
            <a:pPr marL="180000" lvl="1" indent="-180000" defTabSz="957263" fontAlgn="base">
              <a:spcBef>
                <a:spcPts val="400"/>
              </a:spcBef>
              <a:buClr>
                <a:schemeClr val="bg2"/>
              </a:buClr>
              <a:buFont typeface="Arial" charset="0"/>
              <a:buChar char="•"/>
            </a:pPr>
            <a:endParaRPr lang="en-US" altLang="zh-CN" sz="1800" dirty="0">
              <a:latin typeface="Palatino" pitchFamily="2" charset="0"/>
              <a:ea typeface="+mj-ea"/>
              <a:cs typeface="+mj-cs"/>
            </a:endParaRPr>
          </a:p>
        </p:txBody>
      </p:sp>
      <p:sp>
        <p:nvSpPr>
          <p:cNvPr id="7" name="Text Placeholder 5">
            <a:extLst>
              <a:ext uri="{FF2B5EF4-FFF2-40B4-BE49-F238E27FC236}">
                <a16:creationId xmlns:a16="http://schemas.microsoft.com/office/drawing/2014/main" id="{F5259080-1DF3-D44B-9462-2890BFBE7973}"/>
              </a:ext>
            </a:extLst>
          </p:cNvPr>
          <p:cNvSpPr txBox="1">
            <a:spLocks/>
          </p:cNvSpPr>
          <p:nvPr/>
        </p:nvSpPr>
        <p:spPr>
          <a:xfrm>
            <a:off x="264838" y="1316710"/>
            <a:ext cx="4687367" cy="5425451"/>
          </a:xfrm>
          <a:prstGeom prst="rect">
            <a:avLst/>
          </a:prstGeom>
          <a:ln w="12700">
            <a:solidFill>
              <a:schemeClr val="bg2"/>
            </a:solidFill>
          </a:ln>
        </p:spPr>
        <p:txBody>
          <a:bodyPr wrap="square" lIns="3600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endParaRPr lang="en-US" sz="1800" dirty="0">
              <a:solidFill>
                <a:schemeClr val="tx1"/>
              </a:solidFill>
              <a:latin typeface="Palatino Linotype" panose="02040502050505030304" pitchFamily="18" charset="0"/>
            </a:endParaRPr>
          </a:p>
          <a:p>
            <a:endParaRPr lang="en-US" sz="1800" dirty="0">
              <a:solidFill>
                <a:schemeClr val="tx1"/>
              </a:solidFill>
              <a:latin typeface="Palatino Linotype" panose="02040502050505030304" pitchFamily="18" charset="0"/>
            </a:endParaRPr>
          </a:p>
        </p:txBody>
      </p:sp>
      <p:sp>
        <p:nvSpPr>
          <p:cNvPr id="8" name="Text Box 10">
            <a:extLst>
              <a:ext uri="{FF2B5EF4-FFF2-40B4-BE49-F238E27FC236}">
                <a16:creationId xmlns:a16="http://schemas.microsoft.com/office/drawing/2014/main" id="{0FDF70BD-D276-A545-BF8E-BCB513C3AE3B}"/>
              </a:ext>
            </a:extLst>
          </p:cNvPr>
          <p:cNvSpPr txBox="1">
            <a:spLocks noChangeArrowheads="1"/>
          </p:cNvSpPr>
          <p:nvPr>
            <p:custDataLst>
              <p:tags r:id="rId1"/>
            </p:custDataLst>
          </p:nvPr>
        </p:nvSpPr>
        <p:spPr bwMode="auto">
          <a:xfrm>
            <a:off x="264840" y="1125537"/>
            <a:ext cx="4687366" cy="191173"/>
          </a:xfrm>
          <a:prstGeom prst="rect">
            <a:avLst/>
          </a:prstGeom>
          <a:solidFill>
            <a:schemeClr val="bg2"/>
          </a:solidFill>
          <a:ln w="12700" algn="ctr">
            <a:solidFill>
              <a:schemeClr val="bg2"/>
            </a:solidFill>
            <a:miter lim="800000"/>
            <a:headEnd/>
            <a:tailEnd type="none" w="sm" len="med"/>
          </a:ln>
        </p:spPr>
        <p:txBody>
          <a:bodyPr lIns="36000" tIns="36000" rIns="36000" bIns="36000" anchor="ctr" anchorCtr="1"/>
          <a:lstStyle/>
          <a:p>
            <a:pPr algn="ctr" defTabSz="957263"/>
            <a:endParaRPr lang="en-US" sz="1400" b="1" dirty="0">
              <a:solidFill>
                <a:schemeClr val="bg1"/>
              </a:solidFill>
              <a:latin typeface="Palatino Linotype" panose="02040502050505030304" pitchFamily="18" charset="0"/>
            </a:endParaRPr>
          </a:p>
        </p:txBody>
      </p:sp>
      <p:pic>
        <p:nvPicPr>
          <p:cNvPr id="5" name="图片 4">
            <a:extLst>
              <a:ext uri="{FF2B5EF4-FFF2-40B4-BE49-F238E27FC236}">
                <a16:creationId xmlns:a16="http://schemas.microsoft.com/office/drawing/2014/main" id="{E1793084-02BE-42C7-9F89-C9E255CE5BB1}"/>
              </a:ext>
            </a:extLst>
          </p:cNvPr>
          <p:cNvPicPr>
            <a:picLocks noChangeAspect="1"/>
          </p:cNvPicPr>
          <p:nvPr/>
        </p:nvPicPr>
        <p:blipFill>
          <a:blip r:embed="rId4"/>
          <a:stretch>
            <a:fillRect/>
          </a:stretch>
        </p:blipFill>
        <p:spPr>
          <a:xfrm>
            <a:off x="5057332" y="1316710"/>
            <a:ext cx="4505416" cy="5065412"/>
          </a:xfrm>
          <a:prstGeom prst="rect">
            <a:avLst/>
          </a:prstGeom>
        </p:spPr>
      </p:pic>
    </p:spTree>
    <p:extLst>
      <p:ext uri="{BB962C8B-B14F-4D97-AF65-F5344CB8AC3E}">
        <p14:creationId xmlns:p14="http://schemas.microsoft.com/office/powerpoint/2010/main" val="40365728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5"/>
          <p:cNvSpPr txBox="1">
            <a:spLocks/>
          </p:cNvSpPr>
          <p:nvPr/>
        </p:nvSpPr>
        <p:spPr>
          <a:xfrm>
            <a:off x="264840" y="1160463"/>
            <a:ext cx="9403035" cy="5149850"/>
          </a:xfrm>
          <a:prstGeom prst="rect">
            <a:avLst/>
          </a:prstGeom>
        </p:spPr>
        <p:txBody>
          <a:bodyPr/>
          <a:lstStyle>
            <a:lvl1pPr marL="188568" indent="-188568" algn="l" defTabSz="957925" rtl="0" eaLnBrk="1" latinLnBrk="0" hangingPunct="1">
              <a:lnSpc>
                <a:spcPct val="90000"/>
              </a:lnSpc>
              <a:spcBef>
                <a:spcPts val="1467"/>
              </a:spcBef>
              <a:buClr>
                <a:schemeClr val="bg2"/>
              </a:buClr>
              <a:buSzPct val="100000"/>
              <a:buFont typeface="Arial" pitchFamily="34" charset="0"/>
              <a:buChar char="■"/>
              <a:defRPr sz="1700" kern="1200">
                <a:solidFill>
                  <a:schemeClr val="tx1"/>
                </a:solidFill>
                <a:latin typeface="Palatino Linotype" panose="02040502050505030304" pitchFamily="18" charset="0"/>
                <a:ea typeface="+mn-ea"/>
                <a:cs typeface="Arial" pitchFamily="34" charset="0"/>
              </a:defRPr>
            </a:lvl1pPr>
            <a:lvl2pPr marL="325695" indent="-134110" algn="l" defTabSz="957925" rtl="0" eaLnBrk="1" latinLnBrk="0" hangingPunct="1">
              <a:lnSpc>
                <a:spcPct val="90000"/>
              </a:lnSpc>
              <a:spcBef>
                <a:spcPts val="943"/>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2pPr>
            <a:lvl3pPr marL="512905" indent="-188568" algn="l" defTabSz="957925" rtl="0" eaLnBrk="1" latinLnBrk="0" hangingPunct="1">
              <a:lnSpc>
                <a:spcPct val="90000"/>
              </a:lnSpc>
              <a:spcBef>
                <a:spcPts val="629"/>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3pPr>
            <a:lvl4pPr marL="663759" indent="-143689" algn="l" defTabSz="957925" rtl="0" eaLnBrk="1" latinLnBrk="0" hangingPunct="1">
              <a:lnSpc>
                <a:spcPct val="90000"/>
              </a:lnSpc>
              <a:spcBef>
                <a:spcPts val="210"/>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4pPr>
            <a:lvl5pPr marL="807071" indent="-143312" algn="l" defTabSz="957925" rtl="0" eaLnBrk="1" latinLnBrk="0" hangingPunct="1">
              <a:lnSpc>
                <a:spcPct val="90000"/>
              </a:lnSpc>
              <a:spcBef>
                <a:spcPts val="105"/>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5pPr>
            <a:lvl6pPr marL="2634295"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3258"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2220"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1183"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buNone/>
            </a:pPr>
            <a:endParaRPr lang="en-US" sz="1600" dirty="0"/>
          </a:p>
        </p:txBody>
      </p:sp>
      <p:sp>
        <p:nvSpPr>
          <p:cNvPr id="14" name="标题 1">
            <a:extLst>
              <a:ext uri="{FF2B5EF4-FFF2-40B4-BE49-F238E27FC236}">
                <a16:creationId xmlns:a16="http://schemas.microsoft.com/office/drawing/2014/main" id="{4FC0B03D-650C-46EA-B423-DF78D134EBC6}"/>
              </a:ext>
            </a:extLst>
          </p:cNvPr>
          <p:cNvSpPr>
            <a:spLocks noGrp="1"/>
          </p:cNvSpPr>
          <p:nvPr>
            <p:ph type="title"/>
          </p:nvPr>
        </p:nvSpPr>
        <p:spPr>
          <a:xfrm>
            <a:off x="264840" y="153430"/>
            <a:ext cx="7351662" cy="611187"/>
          </a:xfrm>
        </p:spPr>
        <p:txBody>
          <a:bodyPr/>
          <a:lstStyle/>
          <a:p>
            <a:r>
              <a:rPr lang="en-US" altLang="zh-CN" sz="2800" dirty="0">
                <a:latin typeface="Palatino" pitchFamily="2" charset="0"/>
              </a:rPr>
              <a:t>6.</a:t>
            </a:r>
            <a:r>
              <a:rPr lang="zh-CN" altLang="en-US" sz="2800" dirty="0">
                <a:latin typeface="Palatino" pitchFamily="2" charset="0"/>
              </a:rPr>
              <a:t> </a:t>
            </a:r>
            <a:r>
              <a:rPr lang="en-US" altLang="zh-CN" sz="2800" dirty="0">
                <a:latin typeface="Palatino" pitchFamily="2" charset="0"/>
              </a:rPr>
              <a:t>Get the intersection of these two selection method</a:t>
            </a:r>
            <a:br>
              <a:rPr lang="en-US" altLang="zh-CN" dirty="0"/>
            </a:br>
            <a:r>
              <a:rPr lang="en-US" altLang="zh-CN" dirty="0"/>
              <a:t> </a:t>
            </a:r>
            <a:endParaRPr lang="en-US" dirty="0"/>
          </a:p>
        </p:txBody>
      </p:sp>
      <p:pic>
        <p:nvPicPr>
          <p:cNvPr id="8" name="图片 7">
            <a:extLst>
              <a:ext uri="{FF2B5EF4-FFF2-40B4-BE49-F238E27FC236}">
                <a16:creationId xmlns:a16="http://schemas.microsoft.com/office/drawing/2014/main" id="{0C4BFFFE-8AEA-4B71-B28F-2BDC08BDF6E9}"/>
              </a:ext>
            </a:extLst>
          </p:cNvPr>
          <p:cNvPicPr>
            <a:picLocks noChangeAspect="1"/>
          </p:cNvPicPr>
          <p:nvPr/>
        </p:nvPicPr>
        <p:blipFill>
          <a:blip r:embed="rId2"/>
          <a:stretch>
            <a:fillRect/>
          </a:stretch>
        </p:blipFill>
        <p:spPr>
          <a:xfrm>
            <a:off x="2695456" y="4365898"/>
            <a:ext cx="4248472" cy="2142547"/>
          </a:xfrm>
          <a:prstGeom prst="rect">
            <a:avLst/>
          </a:prstGeom>
        </p:spPr>
      </p:pic>
      <p:cxnSp>
        <p:nvCxnSpPr>
          <p:cNvPr id="10" name="直接箭头连接符 9">
            <a:extLst>
              <a:ext uri="{FF2B5EF4-FFF2-40B4-BE49-F238E27FC236}">
                <a16:creationId xmlns:a16="http://schemas.microsoft.com/office/drawing/2014/main" id="{672DB290-F3C0-4D7F-B556-0D3FE5A402F4}"/>
              </a:ext>
            </a:extLst>
          </p:cNvPr>
          <p:cNvCxnSpPr>
            <a:cxnSpLocks/>
            <a:stCxn id="4" idx="3"/>
            <a:endCxn id="8" idx="0"/>
          </p:cNvCxnSpPr>
          <p:nvPr/>
        </p:nvCxnSpPr>
        <p:spPr>
          <a:xfrm>
            <a:off x="3395422" y="2444106"/>
            <a:ext cx="1424270" cy="1921792"/>
          </a:xfrm>
          <a:prstGeom prst="straightConnector1">
            <a:avLst/>
          </a:prstGeom>
          <a:ln>
            <a:solidFill>
              <a:schemeClr val="bg2">
                <a:lumMod val="60000"/>
                <a:lumOff val="40000"/>
              </a:schemeClr>
            </a:solidFill>
            <a:headEnd type="none" w="med" len="med"/>
            <a:tailEnd type="triangle"/>
          </a:ln>
        </p:spPr>
        <p:style>
          <a:lnRef idx="2">
            <a:schemeClr val="accent5"/>
          </a:lnRef>
          <a:fillRef idx="0">
            <a:schemeClr val="accent5"/>
          </a:fillRef>
          <a:effectRef idx="1">
            <a:schemeClr val="accent5"/>
          </a:effectRef>
          <a:fontRef idx="minor">
            <a:schemeClr val="tx1"/>
          </a:fontRef>
        </p:style>
      </p:cxnSp>
      <p:cxnSp>
        <p:nvCxnSpPr>
          <p:cNvPr id="13" name="直接箭头连接符 12">
            <a:extLst>
              <a:ext uri="{FF2B5EF4-FFF2-40B4-BE49-F238E27FC236}">
                <a16:creationId xmlns:a16="http://schemas.microsoft.com/office/drawing/2014/main" id="{AF270F6A-518F-4AE9-A457-04F7FDD936CE}"/>
              </a:ext>
            </a:extLst>
          </p:cNvPr>
          <p:cNvCxnSpPr>
            <a:cxnSpLocks/>
            <a:stCxn id="25" idx="1"/>
            <a:endCxn id="8" idx="0"/>
          </p:cNvCxnSpPr>
          <p:nvPr/>
        </p:nvCxnSpPr>
        <p:spPr>
          <a:xfrm flipH="1">
            <a:off x="4819692" y="2444106"/>
            <a:ext cx="1424271" cy="1921792"/>
          </a:xfrm>
          <a:prstGeom prst="straightConnector1">
            <a:avLst/>
          </a:prstGeom>
          <a:ln>
            <a:solidFill>
              <a:schemeClr val="bg2">
                <a:lumMod val="60000"/>
                <a:lumOff val="40000"/>
              </a:schemeClr>
            </a:solidFill>
            <a:headEnd type="none" w="med" len="med"/>
            <a:tailEnd type="triangle"/>
          </a:ln>
        </p:spPr>
        <p:style>
          <a:lnRef idx="2">
            <a:schemeClr val="accent5"/>
          </a:lnRef>
          <a:fillRef idx="0">
            <a:schemeClr val="accent5"/>
          </a:fillRef>
          <a:effectRef idx="1">
            <a:schemeClr val="accent5"/>
          </a:effectRef>
          <a:fontRef idx="minor">
            <a:schemeClr val="tx1"/>
          </a:fontRef>
        </p:style>
      </p:cxnSp>
      <p:sp>
        <p:nvSpPr>
          <p:cNvPr id="18" name="文本框 17">
            <a:extLst>
              <a:ext uri="{FF2B5EF4-FFF2-40B4-BE49-F238E27FC236}">
                <a16:creationId xmlns:a16="http://schemas.microsoft.com/office/drawing/2014/main" id="{58AAAB5B-8258-431A-A719-788CDBE47E5A}"/>
              </a:ext>
            </a:extLst>
          </p:cNvPr>
          <p:cNvSpPr txBox="1"/>
          <p:nvPr/>
        </p:nvSpPr>
        <p:spPr>
          <a:xfrm>
            <a:off x="4016102" y="2673710"/>
            <a:ext cx="1607181" cy="341632"/>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2400" dirty="0">
                <a:latin typeface="Palatino" pitchFamily="2" charset="0"/>
                <a:cs typeface="Arial" pitchFamily="34" charset="0"/>
              </a:rPr>
              <a:t>Intersection</a:t>
            </a:r>
            <a:endParaRPr lang="zh-CN" altLang="en-US" sz="2400" dirty="0">
              <a:latin typeface="Palatino" pitchFamily="2" charset="0"/>
              <a:cs typeface="Arial" pitchFamily="34" charset="0"/>
            </a:endParaRPr>
          </a:p>
        </p:txBody>
      </p:sp>
      <p:pic>
        <p:nvPicPr>
          <p:cNvPr id="4" name="图片 3">
            <a:extLst>
              <a:ext uri="{FF2B5EF4-FFF2-40B4-BE49-F238E27FC236}">
                <a16:creationId xmlns:a16="http://schemas.microsoft.com/office/drawing/2014/main" id="{C101E493-7AEC-4A4C-8254-FA32569D16D2}"/>
              </a:ext>
            </a:extLst>
          </p:cNvPr>
          <p:cNvPicPr>
            <a:picLocks noChangeAspect="1"/>
          </p:cNvPicPr>
          <p:nvPr/>
        </p:nvPicPr>
        <p:blipFill>
          <a:blip r:embed="rId3"/>
          <a:stretch>
            <a:fillRect/>
          </a:stretch>
        </p:blipFill>
        <p:spPr>
          <a:xfrm>
            <a:off x="28278" y="1593590"/>
            <a:ext cx="3367144" cy="1701032"/>
          </a:xfrm>
          <a:prstGeom prst="rect">
            <a:avLst/>
          </a:prstGeom>
        </p:spPr>
      </p:pic>
      <p:pic>
        <p:nvPicPr>
          <p:cNvPr id="25" name="图片 24">
            <a:extLst>
              <a:ext uri="{FF2B5EF4-FFF2-40B4-BE49-F238E27FC236}">
                <a16:creationId xmlns:a16="http://schemas.microsoft.com/office/drawing/2014/main" id="{B604F704-AA77-46F9-94AD-E70CE95580E7}"/>
              </a:ext>
            </a:extLst>
          </p:cNvPr>
          <p:cNvPicPr>
            <a:picLocks noChangeAspect="1"/>
          </p:cNvPicPr>
          <p:nvPr/>
        </p:nvPicPr>
        <p:blipFill>
          <a:blip r:embed="rId4"/>
          <a:stretch>
            <a:fillRect/>
          </a:stretch>
        </p:blipFill>
        <p:spPr>
          <a:xfrm>
            <a:off x="6243963" y="1593590"/>
            <a:ext cx="3371230" cy="1701032"/>
          </a:xfrm>
          <a:prstGeom prst="rect">
            <a:avLst/>
          </a:prstGeom>
        </p:spPr>
      </p:pic>
    </p:spTree>
    <p:extLst>
      <p:ext uri="{BB962C8B-B14F-4D97-AF65-F5344CB8AC3E}">
        <p14:creationId xmlns:p14="http://schemas.microsoft.com/office/powerpoint/2010/main" val="142269351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标题 11"/>
          <p:cNvSpPr>
            <a:spLocks noGrp="1"/>
          </p:cNvSpPr>
          <p:nvPr>
            <p:ph type="ctrTitle"/>
          </p:nvPr>
        </p:nvSpPr>
        <p:spPr/>
        <p:txBody>
          <a:bodyPr/>
          <a:lstStyle/>
          <a:p>
            <a:endParaRPr lang="zh-CN" altLang="en-US" dirty="0">
              <a:latin typeface="Palatino Linotype" panose="02040502050505030304" pitchFamily="18" charset="0"/>
              <a:ea typeface="微软雅黑" panose="020B0503020204020204" pitchFamily="34" charset="-122"/>
              <a:sym typeface="Palatino Linotype" panose="02040502050505030304" pitchFamily="18" charset="0"/>
            </a:endParaRPr>
          </a:p>
        </p:txBody>
      </p:sp>
      <p:sp>
        <p:nvSpPr>
          <p:cNvPr id="13" name="副标题 12"/>
          <p:cNvSpPr>
            <a:spLocks noGrp="1"/>
          </p:cNvSpPr>
          <p:nvPr>
            <p:ph type="subTitle" idx="1"/>
          </p:nvPr>
        </p:nvSpPr>
        <p:spPr>
          <a:xfrm>
            <a:off x="265157" y="3065354"/>
            <a:ext cx="9361046" cy="263149"/>
          </a:xfrm>
        </p:spPr>
        <p:txBody>
          <a:bodyPr/>
          <a:lstStyle/>
          <a:p>
            <a:endParaRPr lang="zh-CN" altLang="en-US" dirty="0">
              <a:latin typeface="Palatino Linotype" panose="02040502050505030304" pitchFamily="18" charset="0"/>
              <a:ea typeface="微软雅黑" panose="020B0503020204020204" pitchFamily="34" charset="-122"/>
              <a:sym typeface="Palatino Linotype" panose="02040502050505030304" pitchFamily="18" charset="0"/>
            </a:endParaRPr>
          </a:p>
        </p:txBody>
      </p:sp>
      <p:grpSp>
        <p:nvGrpSpPr>
          <p:cNvPr id="42" name="组合 41"/>
          <p:cNvGrpSpPr/>
          <p:nvPr/>
        </p:nvGrpSpPr>
        <p:grpSpPr>
          <a:xfrm>
            <a:off x="0" y="2433247"/>
            <a:ext cx="9904095" cy="1965630"/>
            <a:chOff x="170694" y="177982"/>
            <a:chExt cx="3936004" cy="781165"/>
          </a:xfrm>
        </p:grpSpPr>
        <p:sp>
          <p:nvSpPr>
            <p:cNvPr id="44" name="等腰三角形 43"/>
            <p:cNvSpPr/>
            <p:nvPr/>
          </p:nvSpPr>
          <p:spPr>
            <a:xfrm>
              <a:off x="1233863" y="177982"/>
              <a:ext cx="355284" cy="356514"/>
            </a:xfrm>
            <a:prstGeom prst="triangl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4280" tIns="37140" rIns="74280" bIns="37140" rtlCol="0" anchor="ctr"/>
            <a:lstStyle/>
            <a:p>
              <a:pPr marL="0" marR="0" lvl="0" indent="0" algn="ctr" defTabSz="958215" rtl="0" eaLnBrk="1" fontAlgn="auto" latinLnBrk="0" hangingPunct="1">
                <a:lnSpc>
                  <a:spcPct val="100000"/>
                </a:lnSpc>
                <a:spcBef>
                  <a:spcPts val="0"/>
                </a:spcBef>
                <a:spcAft>
                  <a:spcPts val="0"/>
                </a:spcAft>
                <a:buClrTx/>
                <a:buSzTx/>
                <a:buFontTx/>
                <a:buNone/>
                <a:tabLst/>
                <a:defRPr/>
              </a:pPr>
              <a:endParaRPr kumimoji="0" lang="zh-CN" altLang="en-US" sz="2060" b="0" i="0" u="none" strike="noStrike" kern="1200" cap="none" spc="0" normalizeH="0" baseline="0" noProof="0">
                <a:ln>
                  <a:noFill/>
                </a:ln>
                <a:solidFill>
                  <a:srgbClr val="FFFFFF"/>
                </a:solidFill>
                <a:effectLst/>
                <a:uLnTx/>
                <a:uFillTx/>
                <a:latin typeface="Palatino Linotype" panose="02040502050505030304" pitchFamily="18" charset="0"/>
                <a:ea typeface="微软雅黑" panose="020B0503020204020204" pitchFamily="34" charset="-122"/>
                <a:sym typeface="Palatino Linotype" panose="02040502050505030304" pitchFamily="18" charset="0"/>
              </a:endParaRPr>
            </a:p>
          </p:txBody>
        </p:sp>
        <p:sp>
          <p:nvSpPr>
            <p:cNvPr id="45" name="等腰三角形 44"/>
            <p:cNvSpPr/>
            <p:nvPr/>
          </p:nvSpPr>
          <p:spPr>
            <a:xfrm flipV="1">
              <a:off x="200258" y="602633"/>
              <a:ext cx="355284" cy="356514"/>
            </a:xfrm>
            <a:prstGeom prst="triangl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4280" tIns="37140" rIns="74280" bIns="37140" rtlCol="0" anchor="ctr"/>
            <a:lstStyle/>
            <a:p>
              <a:pPr marL="0" marR="0" lvl="0" indent="0" algn="ctr" defTabSz="958215" rtl="0" eaLnBrk="1" fontAlgn="auto" latinLnBrk="0" hangingPunct="1">
                <a:lnSpc>
                  <a:spcPct val="100000"/>
                </a:lnSpc>
                <a:spcBef>
                  <a:spcPts val="0"/>
                </a:spcBef>
                <a:spcAft>
                  <a:spcPts val="0"/>
                </a:spcAft>
                <a:buClrTx/>
                <a:buSzTx/>
                <a:buFontTx/>
                <a:buNone/>
                <a:tabLst/>
                <a:defRPr/>
              </a:pPr>
              <a:endParaRPr kumimoji="0" lang="zh-CN" altLang="en-US" sz="2060" b="0" i="0" u="none" strike="noStrike" kern="1200" cap="none" spc="0" normalizeH="0" baseline="0" noProof="0">
                <a:ln>
                  <a:noFill/>
                </a:ln>
                <a:solidFill>
                  <a:srgbClr val="FFFFFF"/>
                </a:solidFill>
                <a:effectLst/>
                <a:uLnTx/>
                <a:uFillTx/>
                <a:latin typeface="Palatino Linotype" panose="02040502050505030304" pitchFamily="18" charset="0"/>
                <a:ea typeface="微软雅黑" panose="020B0503020204020204" pitchFamily="34" charset="-122"/>
                <a:sym typeface="Palatino Linotype" panose="02040502050505030304" pitchFamily="18" charset="0"/>
              </a:endParaRPr>
            </a:p>
          </p:txBody>
        </p:sp>
        <p:sp>
          <p:nvSpPr>
            <p:cNvPr id="46" name="矩形 45"/>
            <p:cNvSpPr/>
            <p:nvPr/>
          </p:nvSpPr>
          <p:spPr>
            <a:xfrm>
              <a:off x="170694" y="261768"/>
              <a:ext cx="3936004" cy="6119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4280" tIns="37140" rIns="74280" bIns="37140" rtlCol="0" anchor="ctr"/>
            <a:lstStyle/>
            <a:p>
              <a:pPr marL="0" marR="0" lvl="0" indent="0" algn="ctr" defTabSz="958215" rtl="0" eaLnBrk="1" fontAlgn="auto" latinLnBrk="0" hangingPunct="1">
                <a:lnSpc>
                  <a:spcPct val="100000"/>
                </a:lnSpc>
                <a:spcBef>
                  <a:spcPts val="0"/>
                </a:spcBef>
                <a:spcAft>
                  <a:spcPts val="0"/>
                </a:spcAft>
                <a:buClrTx/>
                <a:buSzTx/>
                <a:buFontTx/>
                <a:buNone/>
                <a:tabLst/>
                <a:defRPr/>
              </a:pPr>
              <a:endParaRPr kumimoji="0" lang="zh-CN" altLang="en-US" sz="2060" b="0" i="0" u="none" strike="noStrike" kern="1200" cap="none" spc="0" normalizeH="0" baseline="0" noProof="0">
                <a:ln>
                  <a:noFill/>
                </a:ln>
                <a:solidFill>
                  <a:srgbClr val="FFFFFF"/>
                </a:solidFill>
                <a:effectLst/>
                <a:uLnTx/>
                <a:uFillTx/>
                <a:latin typeface="Palatino Linotype" panose="02040502050505030304" pitchFamily="18" charset="0"/>
                <a:ea typeface="微软雅黑" panose="020B0503020204020204" pitchFamily="34" charset="-122"/>
                <a:sym typeface="Palatino Linotype" panose="02040502050505030304" pitchFamily="18" charset="0"/>
              </a:endParaRPr>
            </a:p>
          </p:txBody>
        </p:sp>
        <p:sp>
          <p:nvSpPr>
            <p:cNvPr id="47" name="平行四边形 46"/>
            <p:cNvSpPr/>
            <p:nvPr/>
          </p:nvSpPr>
          <p:spPr>
            <a:xfrm>
              <a:off x="376965" y="178257"/>
              <a:ext cx="1036076" cy="779005"/>
            </a:xfrm>
            <a:prstGeom prst="parallelogram">
              <a:avLst>
                <a:gd name="adj" fmla="val 48207"/>
              </a:avLst>
            </a:prstGeom>
            <a:solidFill>
              <a:srgbClr val="B42100"/>
            </a:solidFill>
            <a:ln>
              <a:noFill/>
            </a:ln>
          </p:spPr>
          <p:style>
            <a:lnRef idx="2">
              <a:schemeClr val="accent1">
                <a:shade val="50000"/>
              </a:schemeClr>
            </a:lnRef>
            <a:fillRef idx="1">
              <a:schemeClr val="accent1"/>
            </a:fillRef>
            <a:effectRef idx="0">
              <a:schemeClr val="accent1"/>
            </a:effectRef>
            <a:fontRef idx="minor">
              <a:schemeClr val="lt1"/>
            </a:fontRef>
          </p:style>
          <p:txBody>
            <a:bodyPr lIns="74280" tIns="37140" rIns="74280" bIns="37140" rtlCol="0" anchor="ctr"/>
            <a:lstStyle/>
            <a:p>
              <a:pPr marL="0" marR="0" lvl="0" indent="0" algn="ctr" defTabSz="958215" rtl="0" eaLnBrk="1" fontAlgn="auto" latinLnBrk="0" hangingPunct="1">
                <a:lnSpc>
                  <a:spcPct val="100000"/>
                </a:lnSpc>
                <a:spcBef>
                  <a:spcPts val="0"/>
                </a:spcBef>
                <a:spcAft>
                  <a:spcPts val="0"/>
                </a:spcAft>
                <a:buClrTx/>
                <a:buSzTx/>
                <a:buFontTx/>
                <a:buNone/>
                <a:tabLst/>
                <a:defRPr/>
              </a:pPr>
              <a:endParaRPr kumimoji="0" lang="zh-CN" altLang="en-US" sz="2060" b="0" i="0" u="none" strike="noStrike" kern="1200" cap="none" spc="0" normalizeH="0" baseline="0" noProof="0">
                <a:ln>
                  <a:noFill/>
                </a:ln>
                <a:solidFill>
                  <a:srgbClr val="FFFFFF"/>
                </a:solidFill>
                <a:effectLst/>
                <a:uLnTx/>
                <a:uFillTx/>
                <a:latin typeface="Palatino Linotype" panose="02040502050505030304" pitchFamily="18" charset="0"/>
                <a:ea typeface="微软雅黑" panose="020B0503020204020204" pitchFamily="34" charset="-122"/>
                <a:sym typeface="Palatino Linotype" panose="02040502050505030304" pitchFamily="18" charset="0"/>
              </a:endParaRPr>
            </a:p>
          </p:txBody>
        </p:sp>
        <p:sp>
          <p:nvSpPr>
            <p:cNvPr id="48" name="文本框 6"/>
            <p:cNvSpPr txBox="1"/>
            <p:nvPr/>
          </p:nvSpPr>
          <p:spPr>
            <a:xfrm>
              <a:off x="650907" y="284178"/>
              <a:ext cx="569115" cy="559222"/>
            </a:xfrm>
            <a:prstGeom prst="rect">
              <a:avLst/>
            </a:prstGeom>
            <a:noFill/>
          </p:spPr>
          <p:txBody>
            <a:bodyPr wrap="square" lIns="74280" tIns="37140" rIns="74280" bIns="37140" rtlCol="0">
              <a:spAutoFit/>
            </a:bodyPr>
            <a:lstStyle/>
            <a:p>
              <a:pPr marL="0" marR="0" lvl="0" indent="0" algn="l" defTabSz="958215" rtl="0" eaLnBrk="1" fontAlgn="auto" latinLnBrk="0" hangingPunct="1">
                <a:lnSpc>
                  <a:spcPct val="100000"/>
                </a:lnSpc>
                <a:spcBef>
                  <a:spcPts val="0"/>
                </a:spcBef>
                <a:spcAft>
                  <a:spcPts val="0"/>
                </a:spcAft>
                <a:buClrTx/>
                <a:buSzTx/>
                <a:buFontTx/>
                <a:buNone/>
                <a:tabLst/>
                <a:defRPr/>
              </a:pPr>
              <a:r>
                <a:rPr lang="en-US" altLang="zh-CN" sz="8665" dirty="0">
                  <a:solidFill>
                    <a:srgbClr val="FFFFFF">
                      <a:lumMod val="95000"/>
                    </a:srgbClr>
                  </a:solidFill>
                  <a:latin typeface="Palatino Linotype" panose="02040502050505030304" pitchFamily="18" charset="0"/>
                  <a:ea typeface="微软雅黑" panose="020B0503020204020204" pitchFamily="34" charset="-122"/>
                  <a:sym typeface="Palatino Linotype" panose="02040502050505030304" pitchFamily="18" charset="0"/>
                </a:rPr>
                <a:t>03</a:t>
              </a:r>
              <a:endParaRPr kumimoji="0" lang="zh-CN" altLang="en-US" sz="8665" b="0" i="0" u="none" strike="noStrike" kern="1200" cap="none" spc="0" normalizeH="0" baseline="0" noProof="0" dirty="0">
                <a:ln>
                  <a:noFill/>
                </a:ln>
                <a:solidFill>
                  <a:srgbClr val="FFFFFF">
                    <a:lumMod val="95000"/>
                  </a:srgbClr>
                </a:solidFill>
                <a:effectLst/>
                <a:uLnTx/>
                <a:uFillTx/>
                <a:latin typeface="Palatino Linotype" panose="02040502050505030304" pitchFamily="18" charset="0"/>
                <a:ea typeface="微软雅黑" panose="020B0503020204020204" pitchFamily="34" charset="-122"/>
                <a:sym typeface="Palatino Linotype" panose="02040502050505030304" pitchFamily="18" charset="0"/>
              </a:endParaRPr>
            </a:p>
          </p:txBody>
        </p:sp>
      </p:grpSp>
      <p:sp>
        <p:nvSpPr>
          <p:cNvPr id="49" name="TextBox 48"/>
          <p:cNvSpPr txBox="1"/>
          <p:nvPr/>
        </p:nvSpPr>
        <p:spPr>
          <a:xfrm>
            <a:off x="3143058" y="2787176"/>
            <a:ext cx="6740343" cy="752116"/>
          </a:xfrm>
          <a:prstGeom prst="rect">
            <a:avLst/>
          </a:prstGeom>
          <a:noFill/>
        </p:spPr>
        <p:txBody>
          <a:bodyPr wrap="square" lIns="74285" tIns="37141" rIns="74285" bIns="37141" rtlCol="0">
            <a:spAutoFit/>
          </a:bodyPr>
          <a:lstStyle/>
          <a:p>
            <a:pPr lvl="0">
              <a:defRPr/>
            </a:pPr>
            <a:r>
              <a:rPr lang="en-US" altLang="zh-CN" sz="4400" b="1" dirty="0">
                <a:solidFill>
                  <a:srgbClr val="000000">
                    <a:lumMod val="75000"/>
                    <a:lumOff val="25000"/>
                  </a:srgbClr>
                </a:solidFill>
                <a:latin typeface="Palatino Linotype" panose="02040502050505030304" pitchFamily="18" charset="0"/>
                <a:ea typeface="微软雅黑" panose="020B0503020204020204" pitchFamily="34" charset="-122"/>
                <a:sym typeface="Palatino Linotype" panose="02040502050505030304" pitchFamily="18" charset="0"/>
              </a:rPr>
              <a:t>Model Analysis</a:t>
            </a:r>
            <a:endParaRPr lang="en" altLang="zh-CN" sz="4400" b="1" dirty="0">
              <a:solidFill>
                <a:srgbClr val="000000">
                  <a:lumMod val="75000"/>
                  <a:lumOff val="25000"/>
                </a:srgbClr>
              </a:solidFill>
              <a:latin typeface="Palatino Linotype" panose="02040502050505030304" pitchFamily="18" charset="0"/>
              <a:ea typeface="微软雅黑" panose="020B0503020204020204" pitchFamily="34" charset="-122"/>
              <a:sym typeface="Palatino Linotype" panose="02040502050505030304" pitchFamily="18" charset="0"/>
            </a:endParaRPr>
          </a:p>
        </p:txBody>
      </p:sp>
    </p:spTree>
    <p:extLst>
      <p:ext uri="{BB962C8B-B14F-4D97-AF65-F5344CB8AC3E}">
        <p14:creationId xmlns:p14="http://schemas.microsoft.com/office/powerpoint/2010/main" val="392324240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3.1 Outline</a:t>
            </a:r>
          </a:p>
        </p:txBody>
      </p:sp>
      <p:sp>
        <p:nvSpPr>
          <p:cNvPr id="3" name="Rectangle 4"/>
          <p:cNvSpPr>
            <a:spLocks noChangeArrowheads="1"/>
          </p:cNvSpPr>
          <p:nvPr/>
        </p:nvSpPr>
        <p:spPr bwMode="gray">
          <a:xfrm>
            <a:off x="379698" y="1773610"/>
            <a:ext cx="1836204" cy="748800"/>
          </a:xfrm>
          <a:prstGeom prst="homePlate">
            <a:avLst>
              <a:gd name="adj" fmla="val 24063"/>
            </a:avLst>
          </a:prstGeom>
          <a:solidFill>
            <a:schemeClr val="bg2"/>
          </a:solidFill>
          <a:ln w="12700" algn="ctr">
            <a:solidFill>
              <a:schemeClr val="bg1"/>
            </a:solidFill>
            <a:miter lim="800000"/>
            <a:headEnd/>
            <a:tailEnd/>
          </a:ln>
        </p:spPr>
        <p:txBody>
          <a:bodyPr lIns="36000" tIns="36000" rIns="36000" bIns="36000" anchor="ctr" anchorCtr="1"/>
          <a:lstStyle/>
          <a:p>
            <a:pPr algn="ctr">
              <a:lnSpc>
                <a:spcPct val="106000"/>
              </a:lnSpc>
              <a:defRPr/>
            </a:pPr>
            <a:r>
              <a:rPr lang="en-US" sz="1400" b="1" dirty="0">
                <a:solidFill>
                  <a:schemeClr val="bg1"/>
                </a:solidFill>
                <a:latin typeface="Palatino Linotype" panose="02040502050505030304" pitchFamily="18" charset="0"/>
              </a:rPr>
              <a:t>Purchase features</a:t>
            </a:r>
          </a:p>
        </p:txBody>
      </p:sp>
      <p:sp>
        <p:nvSpPr>
          <p:cNvPr id="4" name="Rectangle 4"/>
          <p:cNvSpPr>
            <a:spLocks noChangeArrowheads="1"/>
          </p:cNvSpPr>
          <p:nvPr/>
        </p:nvSpPr>
        <p:spPr bwMode="gray">
          <a:xfrm>
            <a:off x="382878" y="4697218"/>
            <a:ext cx="1833024" cy="748800"/>
          </a:xfrm>
          <a:prstGeom prst="homePlate">
            <a:avLst>
              <a:gd name="adj" fmla="val 24063"/>
            </a:avLst>
          </a:prstGeom>
          <a:solidFill>
            <a:schemeClr val="bg2"/>
          </a:solidFill>
          <a:ln w="12700" algn="ctr">
            <a:solidFill>
              <a:schemeClr val="bg1"/>
            </a:solidFill>
            <a:miter lim="800000"/>
            <a:headEnd/>
            <a:tailEnd/>
          </a:ln>
        </p:spPr>
        <p:txBody>
          <a:bodyPr lIns="36000" tIns="36000" rIns="36000" bIns="36000" anchor="ctr" anchorCtr="1"/>
          <a:lstStyle/>
          <a:p>
            <a:pPr algn="ctr">
              <a:lnSpc>
                <a:spcPct val="106000"/>
              </a:lnSpc>
              <a:defRPr/>
            </a:pPr>
            <a:r>
              <a:rPr lang="en-US" sz="1400" b="1" dirty="0">
                <a:solidFill>
                  <a:schemeClr val="bg1"/>
                </a:solidFill>
                <a:latin typeface="Palatino Linotype" panose="02040502050505030304" pitchFamily="18" charset="0"/>
              </a:rPr>
              <a:t>Redeem features</a:t>
            </a:r>
          </a:p>
        </p:txBody>
      </p:sp>
      <p:cxnSp>
        <p:nvCxnSpPr>
          <p:cNvPr id="15" name="Straight Connector 14"/>
          <p:cNvCxnSpPr>
            <a:stCxn id="3" idx="3"/>
          </p:cNvCxnSpPr>
          <p:nvPr/>
        </p:nvCxnSpPr>
        <p:spPr>
          <a:xfrm>
            <a:off x="2215902" y="2148010"/>
            <a:ext cx="576064" cy="0"/>
          </a:xfrm>
          <a:prstGeom prst="lin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2791966" y="2148010"/>
            <a:ext cx="0" cy="2946039"/>
          </a:xfrm>
          <a:prstGeom prst="lin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2791966" y="3591933"/>
            <a:ext cx="468052" cy="0"/>
          </a:xfrm>
          <a:prstGeom prst="straightConnector1">
            <a:avLst/>
          </a:prstGeom>
          <a:ln w="6350" cap="flat">
            <a:solidFill>
              <a:schemeClr val="accent3"/>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1" name="Text Placeholder 5"/>
          <p:cNvSpPr txBox="1">
            <a:spLocks/>
          </p:cNvSpPr>
          <p:nvPr/>
        </p:nvSpPr>
        <p:spPr>
          <a:xfrm>
            <a:off x="3332026" y="1744890"/>
            <a:ext cx="3906210" cy="3773136"/>
          </a:xfrm>
          <a:prstGeom prst="rect">
            <a:avLst/>
          </a:prstGeom>
          <a:solidFill>
            <a:schemeClr val="bg1"/>
          </a:solidFill>
          <a:ln w="12700">
            <a:solidFill>
              <a:schemeClr val="bg2"/>
            </a:solidFill>
          </a:ln>
        </p:spPr>
        <p:txBody>
          <a:bodyPr wrap="square" lIns="3600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1"/>
            <a:r>
              <a:rPr lang="en-US" dirty="0">
                <a:solidFill>
                  <a:schemeClr val="tx1"/>
                </a:solidFill>
                <a:latin typeface="Palatino Linotype" panose="02040502050505030304" pitchFamily="18" charset="0"/>
              </a:rPr>
              <a:t>Linear Regression</a:t>
            </a:r>
          </a:p>
          <a:p>
            <a:pPr lvl="1"/>
            <a:endParaRPr lang="en-US" dirty="0">
              <a:solidFill>
                <a:schemeClr val="tx1"/>
              </a:solidFill>
              <a:latin typeface="Palatino Linotype" panose="02040502050505030304" pitchFamily="18" charset="0"/>
            </a:endParaRPr>
          </a:p>
          <a:p>
            <a:pPr lvl="1"/>
            <a:r>
              <a:rPr lang="en-US" dirty="0">
                <a:solidFill>
                  <a:schemeClr val="tx1"/>
                </a:solidFill>
                <a:latin typeface="Palatino Linotype" panose="02040502050505030304" pitchFamily="18" charset="0"/>
              </a:rPr>
              <a:t>Decision Tree Regression</a:t>
            </a:r>
          </a:p>
          <a:p>
            <a:pPr lvl="1"/>
            <a:endParaRPr lang="en-US" dirty="0">
              <a:solidFill>
                <a:schemeClr val="tx1"/>
              </a:solidFill>
              <a:latin typeface="Palatino Linotype" panose="02040502050505030304" pitchFamily="18" charset="0"/>
            </a:endParaRPr>
          </a:p>
          <a:p>
            <a:pPr lvl="1"/>
            <a:r>
              <a:rPr lang="en-US" dirty="0">
                <a:solidFill>
                  <a:schemeClr val="tx1"/>
                </a:solidFill>
                <a:latin typeface="Palatino Linotype" panose="02040502050505030304" pitchFamily="18" charset="0"/>
              </a:rPr>
              <a:t>Random Forest Regression</a:t>
            </a:r>
          </a:p>
          <a:p>
            <a:pPr lvl="1"/>
            <a:endParaRPr lang="en-US" dirty="0">
              <a:solidFill>
                <a:schemeClr val="tx1"/>
              </a:solidFill>
              <a:latin typeface="Palatino Linotype" panose="02040502050505030304" pitchFamily="18" charset="0"/>
            </a:endParaRPr>
          </a:p>
          <a:p>
            <a:pPr lvl="1"/>
            <a:r>
              <a:rPr lang="en-US" dirty="0">
                <a:solidFill>
                  <a:schemeClr val="tx1"/>
                </a:solidFill>
                <a:latin typeface="Palatino Linotype" panose="02040502050505030304" pitchFamily="18" charset="0"/>
              </a:rPr>
              <a:t>Gradient Boosting Regression</a:t>
            </a:r>
          </a:p>
          <a:p>
            <a:pPr lvl="1"/>
            <a:endParaRPr lang="en-US" dirty="0">
              <a:solidFill>
                <a:schemeClr val="tx1"/>
              </a:solidFill>
              <a:latin typeface="Palatino Linotype" panose="02040502050505030304" pitchFamily="18" charset="0"/>
            </a:endParaRPr>
          </a:p>
          <a:p>
            <a:pPr lvl="1"/>
            <a:r>
              <a:rPr lang="en-US" dirty="0" err="1">
                <a:solidFill>
                  <a:schemeClr val="tx1"/>
                </a:solidFill>
                <a:latin typeface="Palatino Linotype" panose="02040502050505030304" pitchFamily="18" charset="0"/>
              </a:rPr>
              <a:t>Xgboost</a:t>
            </a:r>
            <a:r>
              <a:rPr lang="en-US" dirty="0">
                <a:solidFill>
                  <a:schemeClr val="tx1"/>
                </a:solidFill>
                <a:latin typeface="Palatino Linotype" panose="02040502050505030304" pitchFamily="18" charset="0"/>
              </a:rPr>
              <a:t> Regression</a:t>
            </a:r>
          </a:p>
          <a:p>
            <a:pPr lvl="1"/>
            <a:endParaRPr lang="en-US" dirty="0">
              <a:solidFill>
                <a:schemeClr val="tx1"/>
              </a:solidFill>
              <a:latin typeface="Palatino Linotype" panose="02040502050505030304" pitchFamily="18" charset="0"/>
            </a:endParaRPr>
          </a:p>
          <a:p>
            <a:pPr lvl="1"/>
            <a:r>
              <a:rPr lang="en-US" dirty="0">
                <a:solidFill>
                  <a:schemeClr val="tx1"/>
                </a:solidFill>
                <a:latin typeface="Palatino Linotype" panose="02040502050505030304" pitchFamily="18" charset="0"/>
              </a:rPr>
              <a:t>MLP Regression</a:t>
            </a:r>
          </a:p>
        </p:txBody>
      </p:sp>
      <p:cxnSp>
        <p:nvCxnSpPr>
          <p:cNvPr id="29" name="Straight Connector 28"/>
          <p:cNvCxnSpPr/>
          <p:nvPr/>
        </p:nvCxnSpPr>
        <p:spPr>
          <a:xfrm>
            <a:off x="2215902" y="5094049"/>
            <a:ext cx="576064" cy="0"/>
          </a:xfrm>
          <a:prstGeom prst="lin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a:off x="7256238" y="2522410"/>
            <a:ext cx="540060" cy="0"/>
          </a:xfrm>
          <a:prstGeom prst="straightConnector1">
            <a:avLst/>
          </a:prstGeom>
          <a:ln w="6350" cap="flat">
            <a:solidFill>
              <a:schemeClr val="accent3"/>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35" name="Rectangle 34"/>
          <p:cNvSpPr/>
          <p:nvPr/>
        </p:nvSpPr>
        <p:spPr>
          <a:xfrm>
            <a:off x="7796298" y="2079540"/>
            <a:ext cx="2016448" cy="885740"/>
          </a:xfrm>
          <a:prstGeom prst="rect">
            <a:avLst/>
          </a:prstGeom>
          <a:solidFill>
            <a:srgbClr val="9B1717"/>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r>
              <a:rPr lang="en-US" sz="1400" dirty="0">
                <a:solidFill>
                  <a:schemeClr val="bg1"/>
                </a:solidFill>
                <a:latin typeface="Arial" pitchFamily="34" charset="0"/>
                <a:cs typeface="Arial" pitchFamily="34" charset="0"/>
              </a:rPr>
              <a:t>Prediction and evaluate for test set</a:t>
            </a:r>
          </a:p>
        </p:txBody>
      </p:sp>
      <p:cxnSp>
        <p:nvCxnSpPr>
          <p:cNvPr id="36" name="Straight Arrow Connector 35"/>
          <p:cNvCxnSpPr/>
          <p:nvPr/>
        </p:nvCxnSpPr>
        <p:spPr>
          <a:xfrm>
            <a:off x="7256238" y="4697218"/>
            <a:ext cx="540060" cy="0"/>
          </a:xfrm>
          <a:prstGeom prst="straightConnector1">
            <a:avLst/>
          </a:prstGeom>
          <a:ln w="6350" cap="flat">
            <a:solidFill>
              <a:schemeClr val="accent3"/>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a:xfrm>
            <a:off x="7796298" y="4254348"/>
            <a:ext cx="2016448" cy="885740"/>
          </a:xfrm>
          <a:prstGeom prst="rect">
            <a:avLst/>
          </a:prstGeom>
          <a:solidFill>
            <a:srgbClr val="9B1717"/>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r>
              <a:rPr lang="en-US" sz="1400" dirty="0">
                <a:solidFill>
                  <a:schemeClr val="bg1"/>
                </a:solidFill>
                <a:latin typeface="Arial" pitchFamily="34" charset="0"/>
                <a:cs typeface="Arial" pitchFamily="34" charset="0"/>
              </a:rPr>
              <a:t>Prediction and evaluate for online set</a:t>
            </a:r>
          </a:p>
        </p:txBody>
      </p:sp>
      <p:sp>
        <p:nvSpPr>
          <p:cNvPr id="5" name="Right Brace 4"/>
          <p:cNvSpPr/>
          <p:nvPr/>
        </p:nvSpPr>
        <p:spPr>
          <a:xfrm>
            <a:off x="5958172" y="2947399"/>
            <a:ext cx="252028" cy="1289068"/>
          </a:xfrm>
          <a:prstGeom prst="rightBrac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TextBox 7"/>
          <p:cNvSpPr txBox="1"/>
          <p:nvPr/>
        </p:nvSpPr>
        <p:spPr>
          <a:xfrm>
            <a:off x="6299985" y="3510864"/>
            <a:ext cx="848465" cy="197901"/>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sz="1400">
                <a:latin typeface="Arial" pitchFamily="34" charset="0"/>
                <a:cs typeface="Arial" pitchFamily="34" charset="0"/>
              </a:rPr>
              <a:t>Ensemble</a:t>
            </a:r>
            <a:endParaRPr lang="en-US" sz="1400" dirty="0">
              <a:latin typeface="Arial" pitchFamily="34" charset="0"/>
              <a:cs typeface="Arial" pitchFamily="34" charset="0"/>
            </a:endParaRPr>
          </a:p>
        </p:txBody>
      </p:sp>
    </p:spTree>
    <p:extLst>
      <p:ext uri="{BB962C8B-B14F-4D97-AF65-F5344CB8AC3E}">
        <p14:creationId xmlns:p14="http://schemas.microsoft.com/office/powerpoint/2010/main" val="18238129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3.2 Multi-layer perception</a:t>
            </a:r>
          </a:p>
        </p:txBody>
      </p:sp>
      <p:pic>
        <p:nvPicPr>
          <p:cNvPr id="3" name="Picture 2" descr="https://img-blog.csdn.net/20170922094508650?watermark/2/text/aHR0cDovL2Jsb2cuY3Nkbi5uZXQvS29hbGFfVHJlZQ==/font/5a6L5L2T/fontsize/400/fill/I0JBQkFCMA==/dissolve/70/gravity/SouthEast"/>
          <p:cNvPicPr/>
          <p:nvPr/>
        </p:nvPicPr>
        <p:blipFill rotWithShape="1">
          <a:blip r:embed="rId2">
            <a:extLst>
              <a:ext uri="{28A0092B-C50C-407E-A947-70E740481C1C}">
                <a14:useLocalDpi xmlns:a14="http://schemas.microsoft.com/office/drawing/2010/main" val="0"/>
              </a:ext>
            </a:extLst>
          </a:blip>
          <a:srcRect t="10426" r="23430"/>
          <a:stretch/>
        </p:blipFill>
        <p:spPr bwMode="auto">
          <a:xfrm>
            <a:off x="360706" y="3438764"/>
            <a:ext cx="3523615" cy="2427605"/>
          </a:xfrm>
          <a:prstGeom prst="rect">
            <a:avLst/>
          </a:prstGeom>
          <a:noFill/>
          <a:ln>
            <a:noFill/>
          </a:ln>
          <a:extLst>
            <a:ext uri="{53640926-AAD7-44D8-BBD7-CCE9431645EC}">
              <a14:shadowObscured xmlns:a14="http://schemas.microsoft.com/office/drawing/2010/main"/>
            </a:ext>
          </a:extLst>
        </p:spPr>
      </p:pic>
      <p:pic>
        <p:nvPicPr>
          <p:cNvPr id="4" name="Picture 3"/>
          <p:cNvPicPr>
            <a:picLocks noChangeAspect="1"/>
          </p:cNvPicPr>
          <p:nvPr/>
        </p:nvPicPr>
        <p:blipFill>
          <a:blip r:embed="rId3"/>
          <a:stretch>
            <a:fillRect/>
          </a:stretch>
        </p:blipFill>
        <p:spPr>
          <a:xfrm>
            <a:off x="6176342" y="3181941"/>
            <a:ext cx="3090304" cy="3175638"/>
          </a:xfrm>
          <a:prstGeom prst="rect">
            <a:avLst/>
          </a:prstGeom>
        </p:spPr>
      </p:pic>
      <mc:AlternateContent xmlns:mc="http://schemas.openxmlformats.org/markup-compatibility/2006" xmlns:a14="http://schemas.microsoft.com/office/drawing/2010/main">
        <mc:Choice Requires="a14">
          <p:sp>
            <p:nvSpPr>
              <p:cNvPr id="5" name="Text Placeholder 5"/>
              <p:cNvSpPr txBox="1">
                <a:spLocks/>
              </p:cNvSpPr>
              <p:nvPr/>
            </p:nvSpPr>
            <p:spPr>
              <a:xfrm>
                <a:off x="264840" y="1182014"/>
                <a:ext cx="9223869" cy="1990411"/>
              </a:xfrm>
              <a:prstGeom prst="rect">
                <a:avLst/>
              </a:prstGeom>
            </p:spPr>
            <p:txBody>
              <a:bodyPr/>
              <a:lstStyle>
                <a:lvl1pPr marL="188568" indent="-188568" algn="l" defTabSz="957925" rtl="0" eaLnBrk="1" latinLnBrk="0" hangingPunct="1">
                  <a:lnSpc>
                    <a:spcPct val="90000"/>
                  </a:lnSpc>
                  <a:spcBef>
                    <a:spcPts val="1467"/>
                  </a:spcBef>
                  <a:buClr>
                    <a:schemeClr val="bg2"/>
                  </a:buClr>
                  <a:buSzPct val="100000"/>
                  <a:buFont typeface="Arial" pitchFamily="34" charset="0"/>
                  <a:buChar char="■"/>
                  <a:defRPr sz="1700" kern="1200">
                    <a:solidFill>
                      <a:schemeClr val="tx1"/>
                    </a:solidFill>
                    <a:latin typeface="Palatino Linotype" panose="02040502050505030304" pitchFamily="18" charset="0"/>
                    <a:ea typeface="+mn-ea"/>
                    <a:cs typeface="Arial" pitchFamily="34" charset="0"/>
                  </a:defRPr>
                </a:lvl1pPr>
                <a:lvl2pPr marL="325695" indent="-134110" algn="l" defTabSz="957925" rtl="0" eaLnBrk="1" latinLnBrk="0" hangingPunct="1">
                  <a:lnSpc>
                    <a:spcPct val="90000"/>
                  </a:lnSpc>
                  <a:spcBef>
                    <a:spcPts val="943"/>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2pPr>
                <a:lvl3pPr marL="512905" indent="-188568" algn="l" defTabSz="957925" rtl="0" eaLnBrk="1" latinLnBrk="0" hangingPunct="1">
                  <a:lnSpc>
                    <a:spcPct val="90000"/>
                  </a:lnSpc>
                  <a:spcBef>
                    <a:spcPts val="629"/>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3pPr>
                <a:lvl4pPr marL="663759" indent="-143689" algn="l" defTabSz="957925" rtl="0" eaLnBrk="1" latinLnBrk="0" hangingPunct="1">
                  <a:lnSpc>
                    <a:spcPct val="90000"/>
                  </a:lnSpc>
                  <a:spcBef>
                    <a:spcPts val="210"/>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4pPr>
                <a:lvl5pPr marL="807071" indent="-143312" algn="l" defTabSz="957925" rtl="0" eaLnBrk="1" latinLnBrk="0" hangingPunct="1">
                  <a:lnSpc>
                    <a:spcPct val="90000"/>
                  </a:lnSpc>
                  <a:spcBef>
                    <a:spcPts val="105"/>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5pPr>
                <a:lvl6pPr marL="2634295"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3258"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2220"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1183"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r>
                  <a:rPr lang="en-US" altLang="zh-CN" sz="1600" b="1" dirty="0"/>
                  <a:t>Model: </a:t>
                </a:r>
                <a:r>
                  <a:rPr lang="en-US" sz="1600" dirty="0"/>
                  <a:t>Multi-layer Perceptron (MLP) is a supervised learning algorithm that learns a function by training on dataset.</a:t>
                </a:r>
              </a:p>
              <a:p>
                <a:r>
                  <a:rPr lang="en-US" altLang="zh-CN" sz="1600" b="1" dirty="0"/>
                  <a:t>Usage: </a:t>
                </a:r>
                <a:r>
                  <a:rPr lang="en-US" altLang="zh-CN" sz="1600" dirty="0"/>
                  <a:t>Given </a:t>
                </a:r>
                <a:r>
                  <a:rPr lang="en-US" sz="1600" dirty="0"/>
                  <a:t>a set of features </a:t>
                </a:r>
                <a14:m>
                  <m:oMath xmlns:m="http://schemas.openxmlformats.org/officeDocument/2006/math">
                    <m:r>
                      <a:rPr lang="en-US" sz="1600" i="1">
                        <a:latin typeface="Cambria Math" charset="0"/>
                      </a:rPr>
                      <m:t>𝑋</m:t>
                    </m:r>
                    <m:r>
                      <a:rPr lang="en-US" sz="1600" i="1">
                        <a:latin typeface="Cambria Math" charset="0"/>
                      </a:rPr>
                      <m:t>=</m:t>
                    </m:r>
                    <m:sSub>
                      <m:sSubPr>
                        <m:ctrlPr>
                          <a:rPr lang="en-US" sz="1600" i="1">
                            <a:latin typeface="Cambria Math" panose="02040503050406030204" pitchFamily="18" charset="0"/>
                          </a:rPr>
                        </m:ctrlPr>
                      </m:sSubPr>
                      <m:e>
                        <m:r>
                          <a:rPr lang="en-US" sz="1600" i="1">
                            <a:latin typeface="Cambria Math" charset="0"/>
                          </a:rPr>
                          <m:t>𝑥</m:t>
                        </m:r>
                      </m:e>
                      <m:sub>
                        <m:r>
                          <a:rPr lang="en-US" sz="1600" i="1">
                            <a:latin typeface="Cambria Math" charset="0"/>
                          </a:rPr>
                          <m:t>1,</m:t>
                        </m:r>
                      </m:sub>
                    </m:sSub>
                    <m:sSub>
                      <m:sSubPr>
                        <m:ctrlPr>
                          <a:rPr lang="en-US" sz="1600" i="1">
                            <a:latin typeface="Cambria Math" panose="02040503050406030204" pitchFamily="18" charset="0"/>
                          </a:rPr>
                        </m:ctrlPr>
                      </m:sSubPr>
                      <m:e>
                        <m:r>
                          <a:rPr lang="en-US" sz="1600" i="1">
                            <a:latin typeface="Cambria Math" charset="0"/>
                          </a:rPr>
                          <m:t>𝑥</m:t>
                        </m:r>
                      </m:e>
                      <m:sub>
                        <m:r>
                          <a:rPr lang="en-US" sz="1600" i="1">
                            <a:latin typeface="Cambria Math" charset="0"/>
                          </a:rPr>
                          <m:t>2</m:t>
                        </m:r>
                      </m:sub>
                    </m:sSub>
                    <m:r>
                      <a:rPr lang="en-US" sz="1600" i="1">
                        <a:latin typeface="Cambria Math" charset="0"/>
                      </a:rPr>
                      <m:t>,</m:t>
                    </m:r>
                    <m:sSub>
                      <m:sSubPr>
                        <m:ctrlPr>
                          <a:rPr lang="en-US" sz="1600" i="1">
                            <a:latin typeface="Cambria Math" panose="02040503050406030204" pitchFamily="18" charset="0"/>
                          </a:rPr>
                        </m:ctrlPr>
                      </m:sSubPr>
                      <m:e>
                        <m:r>
                          <a:rPr lang="en-US" sz="1600" i="1">
                            <a:latin typeface="Cambria Math" charset="0"/>
                          </a:rPr>
                          <m:t>𝑥</m:t>
                        </m:r>
                      </m:e>
                      <m:sub>
                        <m:r>
                          <a:rPr lang="en-US" sz="1600" i="1">
                            <a:latin typeface="Cambria Math" charset="0"/>
                          </a:rPr>
                          <m:t>3</m:t>
                        </m:r>
                      </m:sub>
                    </m:sSub>
                    <m:r>
                      <a:rPr lang="en-US" sz="1600" i="1">
                        <a:latin typeface="Cambria Math" charset="0"/>
                      </a:rPr>
                      <m:t>,……,</m:t>
                    </m:r>
                    <m:sSub>
                      <m:sSubPr>
                        <m:ctrlPr>
                          <a:rPr lang="en-US" sz="1600" i="1">
                            <a:latin typeface="Cambria Math" panose="02040503050406030204" pitchFamily="18" charset="0"/>
                          </a:rPr>
                        </m:ctrlPr>
                      </m:sSubPr>
                      <m:e>
                        <m:r>
                          <a:rPr lang="en-US" sz="1600" i="1">
                            <a:latin typeface="Cambria Math" charset="0"/>
                          </a:rPr>
                          <m:t>𝑥</m:t>
                        </m:r>
                      </m:e>
                      <m:sub>
                        <m:r>
                          <a:rPr lang="en-US" sz="1600" i="1">
                            <a:latin typeface="Cambria Math" charset="0"/>
                          </a:rPr>
                          <m:t>𝑚</m:t>
                        </m:r>
                      </m:sub>
                    </m:sSub>
                  </m:oMath>
                </a14:m>
                <a:r>
                  <a:rPr lang="en-US" altLang="zh-CN" sz="1600" dirty="0"/>
                  <a:t> and a target y, </a:t>
                </a:r>
                <a:r>
                  <a:rPr lang="en-US" sz="1600" dirty="0"/>
                  <a:t>it can learn a non-linear function </a:t>
                </a:r>
                <a:r>
                  <a:rPr lang="en-US" sz="1600" dirty="0" err="1"/>
                  <a:t>approximator</a:t>
                </a:r>
                <a:r>
                  <a:rPr lang="en-US" sz="1600" dirty="0"/>
                  <a:t> for either classification or regression.</a:t>
                </a:r>
                <a:endParaRPr lang="en-US" altLang="zh-CN" sz="1600" dirty="0"/>
              </a:p>
              <a:p>
                <a:endParaRPr lang="en-US" altLang="zh-CN" sz="1600" dirty="0"/>
              </a:p>
            </p:txBody>
          </p:sp>
        </mc:Choice>
        <mc:Fallback xmlns="">
          <p:sp>
            <p:nvSpPr>
              <p:cNvPr id="5" name="Text Placeholder 5"/>
              <p:cNvSpPr txBox="1">
                <a:spLocks noRot="1" noChangeAspect="1" noMove="1" noResize="1" noEditPoints="1" noAdjustHandles="1" noChangeArrowheads="1" noChangeShapeType="1" noTextEdit="1"/>
              </p:cNvSpPr>
              <p:nvPr/>
            </p:nvSpPr>
            <p:spPr>
              <a:xfrm>
                <a:off x="264840" y="1182014"/>
                <a:ext cx="9223869" cy="1990411"/>
              </a:xfrm>
              <a:prstGeom prst="rect">
                <a:avLst/>
              </a:prstGeom>
              <a:blipFill rotWithShape="0">
                <a:blip r:embed="rId4"/>
                <a:stretch>
                  <a:fillRect l="-264" t="-2147"/>
                </a:stretch>
              </a:blipFill>
            </p:spPr>
            <p:txBody>
              <a:bodyPr/>
              <a:lstStyle/>
              <a:p>
                <a:r>
                  <a:rPr lang="en-US">
                    <a:noFill/>
                  </a:rPr>
                  <a:t> </a:t>
                </a:r>
              </a:p>
            </p:txBody>
          </p:sp>
        </mc:Fallback>
      </mc:AlternateContent>
      <p:pic>
        <p:nvPicPr>
          <p:cNvPr id="6" name="Picture 5"/>
          <p:cNvPicPr>
            <a:picLocks noChangeAspect="1"/>
          </p:cNvPicPr>
          <p:nvPr/>
        </p:nvPicPr>
        <p:blipFill>
          <a:blip r:embed="rId5"/>
          <a:stretch>
            <a:fillRect/>
          </a:stretch>
        </p:blipFill>
        <p:spPr>
          <a:xfrm>
            <a:off x="3975074" y="4503060"/>
            <a:ext cx="1803400" cy="533400"/>
          </a:xfrm>
          <a:prstGeom prst="rect">
            <a:avLst/>
          </a:prstGeom>
        </p:spPr>
      </p:pic>
    </p:spTree>
    <p:extLst>
      <p:ext uri="{BB962C8B-B14F-4D97-AF65-F5344CB8AC3E}">
        <p14:creationId xmlns:p14="http://schemas.microsoft.com/office/powerpoint/2010/main" val="19187733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标题 11"/>
          <p:cNvSpPr>
            <a:spLocks noGrp="1"/>
          </p:cNvSpPr>
          <p:nvPr>
            <p:ph type="ctrTitle"/>
          </p:nvPr>
        </p:nvSpPr>
        <p:spPr/>
        <p:txBody>
          <a:bodyPr/>
          <a:lstStyle/>
          <a:p>
            <a:endParaRPr lang="zh-CN" altLang="en-US" dirty="0">
              <a:latin typeface="Palatino Linotype" panose="02040502050505030304" pitchFamily="18" charset="0"/>
              <a:ea typeface="微软雅黑" panose="020B0503020204020204" pitchFamily="34" charset="-122"/>
              <a:sym typeface="Palatino Linotype" panose="02040502050505030304" pitchFamily="18" charset="0"/>
            </a:endParaRPr>
          </a:p>
        </p:txBody>
      </p:sp>
      <p:sp>
        <p:nvSpPr>
          <p:cNvPr id="13" name="副标题 12"/>
          <p:cNvSpPr>
            <a:spLocks noGrp="1"/>
          </p:cNvSpPr>
          <p:nvPr>
            <p:ph type="subTitle" idx="1"/>
          </p:nvPr>
        </p:nvSpPr>
        <p:spPr>
          <a:xfrm>
            <a:off x="265157" y="3065354"/>
            <a:ext cx="9361046" cy="263149"/>
          </a:xfrm>
        </p:spPr>
        <p:txBody>
          <a:bodyPr/>
          <a:lstStyle/>
          <a:p>
            <a:endParaRPr lang="zh-CN" altLang="en-US" dirty="0">
              <a:latin typeface="Palatino Linotype" panose="02040502050505030304" pitchFamily="18" charset="0"/>
              <a:ea typeface="微软雅黑" panose="020B0503020204020204" pitchFamily="34" charset="-122"/>
              <a:sym typeface="Palatino Linotype" panose="02040502050505030304" pitchFamily="18" charset="0"/>
            </a:endParaRPr>
          </a:p>
        </p:txBody>
      </p:sp>
      <p:grpSp>
        <p:nvGrpSpPr>
          <p:cNvPr id="42" name="组合 41"/>
          <p:cNvGrpSpPr/>
          <p:nvPr/>
        </p:nvGrpSpPr>
        <p:grpSpPr>
          <a:xfrm>
            <a:off x="0" y="2433247"/>
            <a:ext cx="9904095" cy="1965630"/>
            <a:chOff x="170694" y="177982"/>
            <a:chExt cx="3936004" cy="781165"/>
          </a:xfrm>
        </p:grpSpPr>
        <p:sp>
          <p:nvSpPr>
            <p:cNvPr id="44" name="等腰三角形 43"/>
            <p:cNvSpPr/>
            <p:nvPr/>
          </p:nvSpPr>
          <p:spPr>
            <a:xfrm>
              <a:off x="1233863" y="177982"/>
              <a:ext cx="355284" cy="356514"/>
            </a:xfrm>
            <a:prstGeom prst="triangl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4280" tIns="37140" rIns="74280" bIns="37140" rtlCol="0" anchor="ctr"/>
            <a:lstStyle/>
            <a:p>
              <a:pPr marL="0" marR="0" lvl="0" indent="0" algn="ctr" defTabSz="958215" rtl="0" eaLnBrk="1" fontAlgn="auto" latinLnBrk="0" hangingPunct="1">
                <a:lnSpc>
                  <a:spcPct val="100000"/>
                </a:lnSpc>
                <a:spcBef>
                  <a:spcPts val="0"/>
                </a:spcBef>
                <a:spcAft>
                  <a:spcPts val="0"/>
                </a:spcAft>
                <a:buClrTx/>
                <a:buSzTx/>
                <a:buFontTx/>
                <a:buNone/>
                <a:tabLst/>
                <a:defRPr/>
              </a:pPr>
              <a:endParaRPr kumimoji="0" lang="zh-CN" altLang="en-US" sz="2060" b="0" i="0" u="none" strike="noStrike" kern="1200" cap="none" spc="0" normalizeH="0" baseline="0" noProof="0">
                <a:ln>
                  <a:noFill/>
                </a:ln>
                <a:solidFill>
                  <a:srgbClr val="FFFFFF"/>
                </a:solidFill>
                <a:effectLst/>
                <a:uLnTx/>
                <a:uFillTx/>
                <a:latin typeface="Palatino Linotype" panose="02040502050505030304" pitchFamily="18" charset="0"/>
                <a:ea typeface="微软雅黑" panose="020B0503020204020204" pitchFamily="34" charset="-122"/>
                <a:sym typeface="Palatino Linotype" panose="02040502050505030304" pitchFamily="18" charset="0"/>
              </a:endParaRPr>
            </a:p>
          </p:txBody>
        </p:sp>
        <p:sp>
          <p:nvSpPr>
            <p:cNvPr id="45" name="等腰三角形 44"/>
            <p:cNvSpPr/>
            <p:nvPr/>
          </p:nvSpPr>
          <p:spPr>
            <a:xfrm flipV="1">
              <a:off x="200258" y="602633"/>
              <a:ext cx="355284" cy="356514"/>
            </a:xfrm>
            <a:prstGeom prst="triangl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4280" tIns="37140" rIns="74280" bIns="37140" rtlCol="0" anchor="ctr"/>
            <a:lstStyle/>
            <a:p>
              <a:pPr marL="0" marR="0" lvl="0" indent="0" algn="ctr" defTabSz="958215" rtl="0" eaLnBrk="1" fontAlgn="auto" latinLnBrk="0" hangingPunct="1">
                <a:lnSpc>
                  <a:spcPct val="100000"/>
                </a:lnSpc>
                <a:spcBef>
                  <a:spcPts val="0"/>
                </a:spcBef>
                <a:spcAft>
                  <a:spcPts val="0"/>
                </a:spcAft>
                <a:buClrTx/>
                <a:buSzTx/>
                <a:buFontTx/>
                <a:buNone/>
                <a:tabLst/>
                <a:defRPr/>
              </a:pPr>
              <a:endParaRPr kumimoji="0" lang="zh-CN" altLang="en-US" sz="2060" b="0" i="0" u="none" strike="noStrike" kern="1200" cap="none" spc="0" normalizeH="0" baseline="0" noProof="0">
                <a:ln>
                  <a:noFill/>
                </a:ln>
                <a:solidFill>
                  <a:srgbClr val="FFFFFF"/>
                </a:solidFill>
                <a:effectLst/>
                <a:uLnTx/>
                <a:uFillTx/>
                <a:latin typeface="Palatino Linotype" panose="02040502050505030304" pitchFamily="18" charset="0"/>
                <a:ea typeface="微软雅黑" panose="020B0503020204020204" pitchFamily="34" charset="-122"/>
                <a:sym typeface="Palatino Linotype" panose="02040502050505030304" pitchFamily="18" charset="0"/>
              </a:endParaRPr>
            </a:p>
          </p:txBody>
        </p:sp>
        <p:sp>
          <p:nvSpPr>
            <p:cNvPr id="46" name="矩形 45"/>
            <p:cNvSpPr/>
            <p:nvPr/>
          </p:nvSpPr>
          <p:spPr>
            <a:xfrm>
              <a:off x="170694" y="261768"/>
              <a:ext cx="3936004" cy="6119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4280" tIns="37140" rIns="74280" bIns="37140" rtlCol="0" anchor="ctr"/>
            <a:lstStyle/>
            <a:p>
              <a:pPr marL="0" marR="0" lvl="0" indent="0" algn="ctr" defTabSz="958215" rtl="0" eaLnBrk="1" fontAlgn="auto" latinLnBrk="0" hangingPunct="1">
                <a:lnSpc>
                  <a:spcPct val="100000"/>
                </a:lnSpc>
                <a:spcBef>
                  <a:spcPts val="0"/>
                </a:spcBef>
                <a:spcAft>
                  <a:spcPts val="0"/>
                </a:spcAft>
                <a:buClrTx/>
                <a:buSzTx/>
                <a:buFontTx/>
                <a:buNone/>
                <a:tabLst/>
                <a:defRPr/>
              </a:pPr>
              <a:endParaRPr kumimoji="0" lang="zh-CN" altLang="en-US" sz="2060" b="0" i="0" u="none" strike="noStrike" kern="1200" cap="none" spc="0" normalizeH="0" baseline="0" noProof="0">
                <a:ln>
                  <a:noFill/>
                </a:ln>
                <a:solidFill>
                  <a:srgbClr val="FFFFFF"/>
                </a:solidFill>
                <a:effectLst/>
                <a:uLnTx/>
                <a:uFillTx/>
                <a:latin typeface="Palatino Linotype" panose="02040502050505030304" pitchFamily="18" charset="0"/>
                <a:ea typeface="微软雅黑" panose="020B0503020204020204" pitchFamily="34" charset="-122"/>
                <a:sym typeface="Palatino Linotype" panose="02040502050505030304" pitchFamily="18" charset="0"/>
              </a:endParaRPr>
            </a:p>
          </p:txBody>
        </p:sp>
        <p:sp>
          <p:nvSpPr>
            <p:cNvPr id="47" name="平行四边形 46"/>
            <p:cNvSpPr/>
            <p:nvPr/>
          </p:nvSpPr>
          <p:spPr>
            <a:xfrm>
              <a:off x="376965" y="178257"/>
              <a:ext cx="1036076" cy="779005"/>
            </a:xfrm>
            <a:prstGeom prst="parallelogram">
              <a:avLst>
                <a:gd name="adj" fmla="val 48207"/>
              </a:avLst>
            </a:prstGeom>
            <a:solidFill>
              <a:srgbClr val="B42100"/>
            </a:solidFill>
            <a:ln>
              <a:noFill/>
            </a:ln>
          </p:spPr>
          <p:style>
            <a:lnRef idx="2">
              <a:schemeClr val="accent1">
                <a:shade val="50000"/>
              </a:schemeClr>
            </a:lnRef>
            <a:fillRef idx="1">
              <a:schemeClr val="accent1"/>
            </a:fillRef>
            <a:effectRef idx="0">
              <a:schemeClr val="accent1"/>
            </a:effectRef>
            <a:fontRef idx="minor">
              <a:schemeClr val="lt1"/>
            </a:fontRef>
          </p:style>
          <p:txBody>
            <a:bodyPr lIns="74280" tIns="37140" rIns="74280" bIns="37140" rtlCol="0" anchor="ctr"/>
            <a:lstStyle/>
            <a:p>
              <a:pPr marL="0" marR="0" lvl="0" indent="0" algn="ctr" defTabSz="958215" rtl="0" eaLnBrk="1" fontAlgn="auto" latinLnBrk="0" hangingPunct="1">
                <a:lnSpc>
                  <a:spcPct val="100000"/>
                </a:lnSpc>
                <a:spcBef>
                  <a:spcPts val="0"/>
                </a:spcBef>
                <a:spcAft>
                  <a:spcPts val="0"/>
                </a:spcAft>
                <a:buClrTx/>
                <a:buSzTx/>
                <a:buFontTx/>
                <a:buNone/>
                <a:tabLst/>
                <a:defRPr/>
              </a:pPr>
              <a:endParaRPr kumimoji="0" lang="zh-CN" altLang="en-US" sz="2060" b="0" i="0" u="none" strike="noStrike" kern="1200" cap="none" spc="0" normalizeH="0" baseline="0" noProof="0">
                <a:ln>
                  <a:noFill/>
                </a:ln>
                <a:solidFill>
                  <a:srgbClr val="FFFFFF"/>
                </a:solidFill>
                <a:effectLst/>
                <a:uLnTx/>
                <a:uFillTx/>
                <a:latin typeface="Palatino Linotype" panose="02040502050505030304" pitchFamily="18" charset="0"/>
                <a:ea typeface="微软雅黑" panose="020B0503020204020204" pitchFamily="34" charset="-122"/>
                <a:sym typeface="Palatino Linotype" panose="02040502050505030304" pitchFamily="18" charset="0"/>
              </a:endParaRPr>
            </a:p>
          </p:txBody>
        </p:sp>
        <p:sp>
          <p:nvSpPr>
            <p:cNvPr id="48" name="文本框 6"/>
            <p:cNvSpPr txBox="1"/>
            <p:nvPr/>
          </p:nvSpPr>
          <p:spPr>
            <a:xfrm>
              <a:off x="650907" y="284178"/>
              <a:ext cx="569115" cy="559222"/>
            </a:xfrm>
            <a:prstGeom prst="rect">
              <a:avLst/>
            </a:prstGeom>
            <a:noFill/>
          </p:spPr>
          <p:txBody>
            <a:bodyPr wrap="square" lIns="74280" tIns="37140" rIns="74280" bIns="37140" rtlCol="0">
              <a:spAutoFit/>
            </a:bodyPr>
            <a:lstStyle/>
            <a:p>
              <a:pPr marL="0" marR="0" lvl="0" indent="0" algn="l" defTabSz="958215" rtl="0" eaLnBrk="1" fontAlgn="auto" latinLnBrk="0" hangingPunct="1">
                <a:lnSpc>
                  <a:spcPct val="100000"/>
                </a:lnSpc>
                <a:spcBef>
                  <a:spcPts val="0"/>
                </a:spcBef>
                <a:spcAft>
                  <a:spcPts val="0"/>
                </a:spcAft>
                <a:buClrTx/>
                <a:buSzTx/>
                <a:buFontTx/>
                <a:buNone/>
                <a:tabLst/>
                <a:defRPr/>
              </a:pPr>
              <a:r>
                <a:rPr kumimoji="0" lang="en-US" altLang="zh-CN" sz="8665" b="0" i="0" u="none" strike="noStrike" kern="1200" cap="none" spc="0" normalizeH="0" baseline="0" noProof="0" dirty="0">
                  <a:ln>
                    <a:noFill/>
                  </a:ln>
                  <a:solidFill>
                    <a:srgbClr val="FFFFFF">
                      <a:lumMod val="95000"/>
                    </a:srgbClr>
                  </a:solidFill>
                  <a:effectLst/>
                  <a:uLnTx/>
                  <a:uFillTx/>
                  <a:latin typeface="Palatino Linotype" panose="02040502050505030304" pitchFamily="18" charset="0"/>
                  <a:ea typeface="微软雅黑" panose="020B0503020204020204" pitchFamily="34" charset="-122"/>
                  <a:sym typeface="Palatino Linotype" panose="02040502050505030304" pitchFamily="18" charset="0"/>
                </a:rPr>
                <a:t>01</a:t>
              </a:r>
              <a:endParaRPr kumimoji="0" lang="zh-CN" altLang="en-US" sz="8665" b="0" i="0" u="none" strike="noStrike" kern="1200" cap="none" spc="0" normalizeH="0" baseline="0" noProof="0" dirty="0">
                <a:ln>
                  <a:noFill/>
                </a:ln>
                <a:solidFill>
                  <a:srgbClr val="FFFFFF">
                    <a:lumMod val="95000"/>
                  </a:srgbClr>
                </a:solidFill>
                <a:effectLst/>
                <a:uLnTx/>
                <a:uFillTx/>
                <a:latin typeface="Palatino Linotype" panose="02040502050505030304" pitchFamily="18" charset="0"/>
                <a:ea typeface="微软雅黑" panose="020B0503020204020204" pitchFamily="34" charset="-122"/>
                <a:sym typeface="Palatino Linotype" panose="02040502050505030304" pitchFamily="18" charset="0"/>
              </a:endParaRPr>
            </a:p>
          </p:txBody>
        </p:sp>
      </p:grpSp>
      <p:sp>
        <p:nvSpPr>
          <p:cNvPr id="49" name="TextBox 48"/>
          <p:cNvSpPr txBox="1"/>
          <p:nvPr/>
        </p:nvSpPr>
        <p:spPr>
          <a:xfrm>
            <a:off x="3156772" y="3061631"/>
            <a:ext cx="6740343" cy="752116"/>
          </a:xfrm>
          <a:prstGeom prst="rect">
            <a:avLst/>
          </a:prstGeom>
          <a:noFill/>
        </p:spPr>
        <p:txBody>
          <a:bodyPr wrap="square" lIns="74285" tIns="37141" rIns="74285" bIns="37141" rtlCol="0">
            <a:spAutoFit/>
          </a:bodyPr>
          <a:lstStyle/>
          <a:p>
            <a:pPr lvl="0">
              <a:defRPr/>
            </a:pPr>
            <a:r>
              <a:rPr lang="en-GB" altLang="zh-CN" sz="4400" b="1" dirty="0">
                <a:solidFill>
                  <a:srgbClr val="000000">
                    <a:lumMod val="75000"/>
                    <a:lumOff val="25000"/>
                  </a:srgbClr>
                </a:solidFill>
                <a:latin typeface="Palatino Linotype" panose="02040502050505030304" pitchFamily="18" charset="0"/>
                <a:ea typeface="微软雅黑" panose="020B0503020204020204" pitchFamily="34" charset="-122"/>
                <a:sym typeface="Palatino Linotype" panose="02040502050505030304" pitchFamily="18" charset="0"/>
              </a:rPr>
              <a:t>Introduction to </a:t>
            </a:r>
            <a:r>
              <a:rPr lang="en-GB" altLang="zh-CN" sz="4400" b="1" dirty="0" err="1">
                <a:solidFill>
                  <a:srgbClr val="000000">
                    <a:lumMod val="75000"/>
                    <a:lumOff val="25000"/>
                  </a:srgbClr>
                </a:solidFill>
                <a:latin typeface="Palatino Linotype" panose="02040502050505030304" pitchFamily="18" charset="0"/>
                <a:ea typeface="微软雅黑" panose="020B0503020204020204" pitchFamily="34" charset="-122"/>
                <a:sym typeface="Palatino Linotype" panose="02040502050505030304" pitchFamily="18" charset="0"/>
              </a:rPr>
              <a:t>Yu’e</a:t>
            </a:r>
            <a:r>
              <a:rPr lang="en-GB" altLang="zh-CN" sz="4400" b="1" dirty="0">
                <a:solidFill>
                  <a:srgbClr val="000000">
                    <a:lumMod val="75000"/>
                    <a:lumOff val="25000"/>
                  </a:srgbClr>
                </a:solidFill>
                <a:latin typeface="Palatino Linotype" panose="02040502050505030304" pitchFamily="18" charset="0"/>
                <a:ea typeface="微软雅黑" panose="020B0503020204020204" pitchFamily="34" charset="-122"/>
                <a:sym typeface="Palatino Linotype" panose="02040502050505030304" pitchFamily="18" charset="0"/>
              </a:rPr>
              <a:t> Bao</a:t>
            </a:r>
            <a:endParaRPr lang="en" altLang="zh-CN" sz="4400" b="1" dirty="0">
              <a:solidFill>
                <a:srgbClr val="000000">
                  <a:lumMod val="75000"/>
                  <a:lumOff val="25000"/>
                </a:srgbClr>
              </a:solidFill>
              <a:latin typeface="Palatino Linotype" panose="02040502050505030304" pitchFamily="18" charset="0"/>
              <a:ea typeface="微软雅黑" panose="020B0503020204020204" pitchFamily="34" charset="-122"/>
              <a:sym typeface="Palatino Linotype" panose="02040502050505030304" pitchFamily="18" charset="0"/>
            </a:endParaRPr>
          </a:p>
        </p:txBody>
      </p:sp>
    </p:spTree>
    <p:extLst>
      <p:ext uri="{BB962C8B-B14F-4D97-AF65-F5344CB8AC3E}">
        <p14:creationId xmlns:p14="http://schemas.microsoft.com/office/powerpoint/2010/main" val="31988719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3.3 Gradient Boosted Decision Trees </a:t>
            </a:r>
            <a:endParaRPr lang="en-US" dirty="0"/>
          </a:p>
        </p:txBody>
      </p:sp>
      <p:sp>
        <p:nvSpPr>
          <p:cNvPr id="3" name="Text Placeholder 5"/>
          <p:cNvSpPr txBox="1">
            <a:spLocks/>
          </p:cNvSpPr>
          <p:nvPr/>
        </p:nvSpPr>
        <p:spPr>
          <a:xfrm>
            <a:off x="264841" y="1160463"/>
            <a:ext cx="9223869" cy="1990411"/>
          </a:xfrm>
          <a:prstGeom prst="rect">
            <a:avLst/>
          </a:prstGeom>
        </p:spPr>
        <p:txBody>
          <a:bodyPr/>
          <a:lstStyle>
            <a:lvl1pPr marL="188568" indent="-188568" algn="l" defTabSz="957925" rtl="0" eaLnBrk="1" latinLnBrk="0" hangingPunct="1">
              <a:lnSpc>
                <a:spcPct val="90000"/>
              </a:lnSpc>
              <a:spcBef>
                <a:spcPts val="1467"/>
              </a:spcBef>
              <a:buClr>
                <a:schemeClr val="bg2"/>
              </a:buClr>
              <a:buSzPct val="100000"/>
              <a:buFont typeface="Arial" pitchFamily="34" charset="0"/>
              <a:buChar char="■"/>
              <a:defRPr sz="1700" kern="1200">
                <a:solidFill>
                  <a:schemeClr val="tx1"/>
                </a:solidFill>
                <a:latin typeface="Palatino Linotype" panose="02040502050505030304" pitchFamily="18" charset="0"/>
                <a:ea typeface="+mn-ea"/>
                <a:cs typeface="Arial" pitchFamily="34" charset="0"/>
              </a:defRPr>
            </a:lvl1pPr>
            <a:lvl2pPr marL="325695" indent="-134110" algn="l" defTabSz="957925" rtl="0" eaLnBrk="1" latinLnBrk="0" hangingPunct="1">
              <a:lnSpc>
                <a:spcPct val="90000"/>
              </a:lnSpc>
              <a:spcBef>
                <a:spcPts val="943"/>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2pPr>
            <a:lvl3pPr marL="512905" indent="-188568" algn="l" defTabSz="957925" rtl="0" eaLnBrk="1" latinLnBrk="0" hangingPunct="1">
              <a:lnSpc>
                <a:spcPct val="90000"/>
              </a:lnSpc>
              <a:spcBef>
                <a:spcPts val="629"/>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3pPr>
            <a:lvl4pPr marL="663759" indent="-143689" algn="l" defTabSz="957925" rtl="0" eaLnBrk="1" latinLnBrk="0" hangingPunct="1">
              <a:lnSpc>
                <a:spcPct val="90000"/>
              </a:lnSpc>
              <a:spcBef>
                <a:spcPts val="210"/>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4pPr>
            <a:lvl5pPr marL="807071" indent="-143312" algn="l" defTabSz="957925" rtl="0" eaLnBrk="1" latinLnBrk="0" hangingPunct="1">
              <a:lnSpc>
                <a:spcPct val="90000"/>
              </a:lnSpc>
              <a:spcBef>
                <a:spcPts val="105"/>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5pPr>
            <a:lvl6pPr marL="2634295"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3258"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2220"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1183"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r>
              <a:rPr lang="en-US" altLang="zh-CN" sz="1600" b="1" dirty="0"/>
              <a:t>Model: </a:t>
            </a:r>
            <a:r>
              <a:rPr lang="en-US" sz="1600" dirty="0"/>
              <a:t>Gradient Boosted Decision Trees (GBDT) is a generalization of boosting to arbitrary differentiable loss functions. </a:t>
            </a:r>
          </a:p>
          <a:p>
            <a:r>
              <a:rPr lang="en-US" altLang="zh-CN" sz="1600" b="1" dirty="0"/>
              <a:t>Usage: </a:t>
            </a:r>
            <a:r>
              <a:rPr lang="en-US" sz="1600" dirty="0"/>
              <a:t>Gradient Boosting attempts to solve this minimization problem numerically via steepest descent: The steepest descent direction is the negative gradient of the loss function evaluated at the current model  which can be calculated for any differentiable loss function</a:t>
            </a:r>
            <a:endParaRPr lang="en-US" altLang="zh-CN" sz="1600" dirty="0"/>
          </a:p>
        </p:txBody>
      </p:sp>
      <p:pic>
        <p:nvPicPr>
          <p:cNvPr id="4" name="Picture 3"/>
          <p:cNvPicPr>
            <a:picLocks noChangeAspect="1"/>
          </p:cNvPicPr>
          <p:nvPr/>
        </p:nvPicPr>
        <p:blipFill>
          <a:blip r:embed="rId3"/>
          <a:stretch>
            <a:fillRect/>
          </a:stretch>
        </p:blipFill>
        <p:spPr>
          <a:xfrm>
            <a:off x="277767" y="3055281"/>
            <a:ext cx="2451100" cy="876300"/>
          </a:xfrm>
          <a:prstGeom prst="rect">
            <a:avLst/>
          </a:prstGeom>
        </p:spPr>
      </p:pic>
      <p:pic>
        <p:nvPicPr>
          <p:cNvPr id="5" name="Picture 4"/>
          <p:cNvPicPr>
            <a:picLocks noChangeAspect="1"/>
          </p:cNvPicPr>
          <p:nvPr/>
        </p:nvPicPr>
        <p:blipFill>
          <a:blip r:embed="rId4"/>
          <a:stretch>
            <a:fillRect/>
          </a:stretch>
        </p:blipFill>
        <p:spPr>
          <a:xfrm>
            <a:off x="163674" y="4073469"/>
            <a:ext cx="3530600" cy="660400"/>
          </a:xfrm>
          <a:prstGeom prst="rect">
            <a:avLst/>
          </a:prstGeom>
        </p:spPr>
      </p:pic>
      <p:pic>
        <p:nvPicPr>
          <p:cNvPr id="6" name="Picture 5"/>
          <p:cNvPicPr>
            <a:picLocks noChangeAspect="1"/>
          </p:cNvPicPr>
          <p:nvPr/>
        </p:nvPicPr>
        <p:blipFill>
          <a:blip r:embed="rId5"/>
          <a:stretch>
            <a:fillRect/>
          </a:stretch>
        </p:blipFill>
        <p:spPr>
          <a:xfrm>
            <a:off x="277767" y="4917175"/>
            <a:ext cx="4711700" cy="673100"/>
          </a:xfrm>
          <a:prstGeom prst="rect">
            <a:avLst/>
          </a:prstGeom>
        </p:spPr>
      </p:pic>
      <p:pic>
        <p:nvPicPr>
          <p:cNvPr id="7" name="Picture 6"/>
          <p:cNvPicPr>
            <a:picLocks noChangeAspect="1"/>
          </p:cNvPicPr>
          <p:nvPr/>
        </p:nvPicPr>
        <p:blipFill>
          <a:blip r:embed="rId6"/>
          <a:stretch>
            <a:fillRect/>
          </a:stretch>
        </p:blipFill>
        <p:spPr>
          <a:xfrm>
            <a:off x="4873100" y="3118034"/>
            <a:ext cx="4558484" cy="2571270"/>
          </a:xfrm>
          <a:prstGeom prst="rect">
            <a:avLst/>
          </a:prstGeom>
        </p:spPr>
      </p:pic>
      <p:pic>
        <p:nvPicPr>
          <p:cNvPr id="8" name="Picture 7"/>
          <p:cNvPicPr>
            <a:picLocks noChangeAspect="1"/>
          </p:cNvPicPr>
          <p:nvPr/>
        </p:nvPicPr>
        <p:blipFill>
          <a:blip r:embed="rId7"/>
          <a:stretch>
            <a:fillRect/>
          </a:stretch>
        </p:blipFill>
        <p:spPr>
          <a:xfrm>
            <a:off x="194642" y="5700731"/>
            <a:ext cx="5981700" cy="673100"/>
          </a:xfrm>
          <a:prstGeom prst="rect">
            <a:avLst/>
          </a:prstGeom>
        </p:spPr>
      </p:pic>
    </p:spTree>
    <p:extLst>
      <p:ext uri="{BB962C8B-B14F-4D97-AF65-F5344CB8AC3E}">
        <p14:creationId xmlns:p14="http://schemas.microsoft.com/office/powerpoint/2010/main" val="45037588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3.4 Modelling prediction</a:t>
            </a:r>
          </a:p>
        </p:txBody>
      </p:sp>
      <p:sp>
        <p:nvSpPr>
          <p:cNvPr id="3" name="Text Placeholder 5"/>
          <p:cNvSpPr txBox="1">
            <a:spLocks/>
          </p:cNvSpPr>
          <p:nvPr>
            <p:custDataLst>
              <p:tags r:id="rId1"/>
            </p:custDataLst>
          </p:nvPr>
        </p:nvSpPr>
        <p:spPr>
          <a:xfrm>
            <a:off x="812836" y="1829668"/>
            <a:ext cx="3605213" cy="3911452"/>
          </a:xfrm>
          <a:prstGeom prst="homePlate">
            <a:avLst>
              <a:gd name="adj" fmla="val 8173"/>
            </a:avLst>
          </a:prstGeom>
          <a:solidFill>
            <a:schemeClr val="bg1"/>
          </a:solidFill>
          <a:ln w="12700">
            <a:solidFill>
              <a:schemeClr val="bg2"/>
            </a:solidFill>
          </a:ln>
        </p:spPr>
        <p:txBody>
          <a:bodyPr wrap="square" lIns="3600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r>
              <a:rPr lang="en-US" dirty="0">
                <a:solidFill>
                  <a:schemeClr val="tx1"/>
                </a:solidFill>
                <a:latin typeface="Palatino Linotype" panose="02040502050505030304" pitchFamily="18" charset="0"/>
              </a:rPr>
              <a:t>MLP</a:t>
            </a:r>
          </a:p>
          <a:p>
            <a:pPr lvl="1"/>
            <a:r>
              <a:rPr lang="en-US" dirty="0">
                <a:solidFill>
                  <a:schemeClr val="tx1"/>
                </a:solidFill>
                <a:latin typeface="Palatino Linotype" panose="02040502050505030304" pitchFamily="18" charset="0"/>
              </a:rPr>
              <a:t>Advantages</a:t>
            </a:r>
          </a:p>
          <a:p>
            <a:pPr lvl="2"/>
            <a:r>
              <a:rPr lang="en-US" dirty="0">
                <a:solidFill>
                  <a:schemeClr val="tx1"/>
                </a:solidFill>
                <a:latin typeface="Palatino Linotype" panose="02040502050505030304" pitchFamily="18" charset="0"/>
              </a:rPr>
              <a:t>Capability to learn non-linear models</a:t>
            </a:r>
          </a:p>
          <a:p>
            <a:pPr lvl="2"/>
            <a:r>
              <a:rPr lang="en-US" dirty="0">
                <a:solidFill>
                  <a:schemeClr val="tx1"/>
                </a:solidFill>
                <a:latin typeface="Palatino Linotype" panose="02040502050505030304" pitchFamily="18" charset="0"/>
              </a:rPr>
              <a:t>Capability to learn models in real-time</a:t>
            </a:r>
          </a:p>
          <a:p>
            <a:pPr lvl="2"/>
            <a:endParaRPr lang="en-US" dirty="0">
              <a:solidFill>
                <a:schemeClr val="tx1"/>
              </a:solidFill>
              <a:latin typeface="Palatino Linotype" panose="02040502050505030304" pitchFamily="18" charset="0"/>
            </a:endParaRPr>
          </a:p>
          <a:p>
            <a:pPr lvl="2"/>
            <a:endParaRPr lang="en-US" dirty="0">
              <a:solidFill>
                <a:schemeClr val="tx1"/>
              </a:solidFill>
              <a:latin typeface="Palatino Linotype" panose="02040502050505030304" pitchFamily="18" charset="0"/>
            </a:endParaRPr>
          </a:p>
          <a:p>
            <a:pPr lvl="1"/>
            <a:r>
              <a:rPr lang="en-US" dirty="0">
                <a:solidFill>
                  <a:schemeClr val="tx1"/>
                </a:solidFill>
                <a:latin typeface="Palatino Linotype" panose="02040502050505030304" pitchFamily="18" charset="0"/>
              </a:rPr>
              <a:t>Disadvantages</a:t>
            </a:r>
          </a:p>
          <a:p>
            <a:pPr lvl="2"/>
            <a:r>
              <a:rPr lang="en-US" dirty="0">
                <a:solidFill>
                  <a:schemeClr val="tx1"/>
                </a:solidFill>
                <a:latin typeface="Palatino Linotype" panose="02040502050505030304" pitchFamily="18" charset="0"/>
              </a:rPr>
              <a:t>Non-convex loss function, different random weight initialization can lead to different validation</a:t>
            </a:r>
          </a:p>
          <a:p>
            <a:pPr lvl="2"/>
            <a:r>
              <a:rPr lang="en-US" dirty="0">
                <a:solidFill>
                  <a:schemeClr val="tx1"/>
                </a:solidFill>
                <a:latin typeface="Palatino Linotype" panose="02040502050505030304" pitchFamily="18" charset="0"/>
              </a:rPr>
              <a:t>Requiring tuning a number of </a:t>
            </a:r>
            <a:r>
              <a:rPr lang="en-US" dirty="0" err="1">
                <a:solidFill>
                  <a:schemeClr val="tx1"/>
                </a:solidFill>
                <a:latin typeface="Palatino Linotype" panose="02040502050505030304" pitchFamily="18" charset="0"/>
              </a:rPr>
              <a:t>hyperparameters</a:t>
            </a:r>
            <a:endParaRPr lang="en-US" dirty="0">
              <a:solidFill>
                <a:schemeClr val="tx1"/>
              </a:solidFill>
              <a:latin typeface="Palatino Linotype" panose="02040502050505030304" pitchFamily="18" charset="0"/>
            </a:endParaRPr>
          </a:p>
          <a:p>
            <a:pPr lvl="2"/>
            <a:r>
              <a:rPr lang="en-US" dirty="0">
                <a:solidFill>
                  <a:schemeClr val="tx1"/>
                </a:solidFill>
                <a:latin typeface="Palatino Linotype" panose="02040502050505030304" pitchFamily="18" charset="0"/>
              </a:rPr>
              <a:t>MLP is sensitive to feature scaling</a:t>
            </a:r>
          </a:p>
          <a:p>
            <a:endParaRPr lang="en-US" dirty="0">
              <a:solidFill>
                <a:schemeClr val="tx1"/>
              </a:solidFill>
              <a:latin typeface="Palatino Linotype" panose="02040502050505030304" pitchFamily="18" charset="0"/>
            </a:endParaRPr>
          </a:p>
          <a:p>
            <a:pPr lvl="1"/>
            <a:endParaRPr lang="en-US" dirty="0">
              <a:solidFill>
                <a:schemeClr val="tx1"/>
              </a:solidFill>
              <a:latin typeface="Palatino Linotype" panose="02040502050505030304" pitchFamily="18" charset="0"/>
            </a:endParaRPr>
          </a:p>
        </p:txBody>
      </p:sp>
      <p:sp>
        <p:nvSpPr>
          <p:cNvPr id="4" name="Text Placeholder 12"/>
          <p:cNvSpPr>
            <a:spLocks/>
          </p:cNvSpPr>
          <p:nvPr>
            <p:custDataLst>
              <p:tags r:id="rId2"/>
            </p:custDataLst>
          </p:nvPr>
        </p:nvSpPr>
        <p:spPr bwMode="auto">
          <a:xfrm>
            <a:off x="812836" y="1123950"/>
            <a:ext cx="1904367" cy="215444"/>
          </a:xfrm>
          <a:prstGeom prst="rect">
            <a:avLst/>
          </a:prstGeom>
          <a:noFill/>
          <a:ln w="9525">
            <a:noFill/>
            <a:miter lim="800000"/>
            <a:headEnd/>
            <a:tailEnd/>
          </a:ln>
        </p:spPr>
        <p:txBody>
          <a:bodyPr wrap="none" lIns="0" tIns="0" rIns="0" bIns="0">
            <a:spAutoFit/>
          </a:bodyPr>
          <a:lstStyle/>
          <a:p>
            <a:pPr defTabSz="1019175">
              <a:spcAft>
                <a:spcPts val="0"/>
              </a:spcAft>
            </a:pPr>
            <a:r>
              <a:rPr lang="en-US" sz="1400" b="1" dirty="0">
                <a:latin typeface="Palatino Linotype" panose="02040502050505030304" pitchFamily="18" charset="0"/>
              </a:rPr>
              <a:t>Multi-Layer Perception</a:t>
            </a:r>
          </a:p>
        </p:txBody>
      </p:sp>
      <p:sp>
        <p:nvSpPr>
          <p:cNvPr id="5" name="Text Placeholder 12"/>
          <p:cNvSpPr>
            <a:spLocks/>
          </p:cNvSpPr>
          <p:nvPr>
            <p:custDataLst>
              <p:tags r:id="rId3"/>
            </p:custDataLst>
          </p:nvPr>
        </p:nvSpPr>
        <p:spPr bwMode="auto">
          <a:xfrm>
            <a:off x="5771153" y="1123950"/>
            <a:ext cx="2358018" cy="215444"/>
          </a:xfrm>
          <a:prstGeom prst="rect">
            <a:avLst/>
          </a:prstGeom>
          <a:noFill/>
          <a:ln w="9525">
            <a:noFill/>
            <a:miter lim="800000"/>
            <a:headEnd/>
            <a:tailEnd/>
          </a:ln>
        </p:spPr>
        <p:txBody>
          <a:bodyPr wrap="none" lIns="0" tIns="0" rIns="0" bIns="0">
            <a:spAutoFit/>
          </a:bodyPr>
          <a:lstStyle/>
          <a:p>
            <a:pPr defTabSz="1019175">
              <a:spcAft>
                <a:spcPts val="0"/>
              </a:spcAft>
            </a:pPr>
            <a:r>
              <a:rPr lang="en-US" sz="1400" b="1" dirty="0">
                <a:latin typeface="Palatino Linotype" panose="02040502050505030304" pitchFamily="18" charset="0"/>
              </a:rPr>
              <a:t>Gradient Boosting </a:t>
            </a:r>
            <a:r>
              <a:rPr lang="en-US" sz="1400" b="1" dirty="0" err="1">
                <a:latin typeface="Palatino Linotype" panose="02040502050505030304" pitchFamily="18" charset="0"/>
              </a:rPr>
              <a:t>Regressor</a:t>
            </a:r>
            <a:endParaRPr lang="en-US" sz="1400" b="1" dirty="0">
              <a:latin typeface="Palatino Linotype" panose="02040502050505030304" pitchFamily="18" charset="0"/>
            </a:endParaRPr>
          </a:p>
        </p:txBody>
      </p:sp>
      <p:sp>
        <p:nvSpPr>
          <p:cNvPr id="6" name="Text Placeholder 5"/>
          <p:cNvSpPr txBox="1">
            <a:spLocks/>
          </p:cNvSpPr>
          <p:nvPr/>
        </p:nvSpPr>
        <p:spPr>
          <a:xfrm flipH="1">
            <a:off x="5771153" y="1829668"/>
            <a:ext cx="3605213" cy="3911452"/>
          </a:xfrm>
          <a:prstGeom prst="homePlate">
            <a:avLst>
              <a:gd name="adj" fmla="val 8173"/>
            </a:avLst>
          </a:prstGeom>
          <a:solidFill>
            <a:schemeClr val="bg1"/>
          </a:solidFill>
          <a:ln w="12700">
            <a:solidFill>
              <a:schemeClr val="bg2"/>
            </a:solidFill>
          </a:ln>
        </p:spPr>
        <p:txBody>
          <a:bodyPr wrap="square" lIns="18000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r>
              <a:rPr lang="en-US" dirty="0">
                <a:solidFill>
                  <a:schemeClr val="tx1"/>
                </a:solidFill>
                <a:latin typeface="Palatino Linotype" panose="02040502050505030304" pitchFamily="18" charset="0"/>
              </a:rPr>
              <a:t>GBDT</a:t>
            </a:r>
          </a:p>
          <a:p>
            <a:pPr lvl="1"/>
            <a:r>
              <a:rPr lang="en-US" dirty="0">
                <a:solidFill>
                  <a:schemeClr val="tx1"/>
                </a:solidFill>
                <a:latin typeface="Palatino Linotype" panose="02040502050505030304" pitchFamily="18" charset="0"/>
              </a:rPr>
              <a:t>Advantages</a:t>
            </a:r>
          </a:p>
          <a:p>
            <a:pPr lvl="2"/>
            <a:r>
              <a:rPr lang="en-US" dirty="0">
                <a:solidFill>
                  <a:schemeClr val="tx1"/>
                </a:solidFill>
                <a:latin typeface="Palatino Linotype" panose="02040502050505030304" pitchFamily="18" charset="0"/>
              </a:rPr>
              <a:t>Processing different kinds of dataset flexibly, including continuous and discrete values.</a:t>
            </a:r>
          </a:p>
          <a:p>
            <a:pPr lvl="2"/>
            <a:r>
              <a:rPr lang="en-US" dirty="0">
                <a:solidFill>
                  <a:schemeClr val="tx1"/>
                </a:solidFill>
                <a:latin typeface="Palatino Linotype" panose="02040502050505030304" pitchFamily="18" charset="0"/>
              </a:rPr>
              <a:t>Improving accuracy of prediction</a:t>
            </a:r>
            <a:r>
              <a:rPr lang="zh-CN" altLang="en-US" dirty="0">
                <a:solidFill>
                  <a:schemeClr val="tx1"/>
                </a:solidFill>
                <a:latin typeface="Palatino Linotype" panose="02040502050505030304" pitchFamily="18" charset="0"/>
              </a:rPr>
              <a:t> </a:t>
            </a:r>
            <a:r>
              <a:rPr lang="en-US" altLang="zh-CN" dirty="0">
                <a:solidFill>
                  <a:schemeClr val="tx1"/>
                </a:solidFill>
                <a:latin typeface="Palatino Linotype" panose="02040502050505030304" pitchFamily="18" charset="0"/>
              </a:rPr>
              <a:t>with the same time used for adjusting parameters.</a:t>
            </a:r>
          </a:p>
          <a:p>
            <a:pPr lvl="2"/>
            <a:r>
              <a:rPr lang="en-US" dirty="0">
                <a:solidFill>
                  <a:schemeClr val="tx1"/>
                </a:solidFill>
                <a:latin typeface="Palatino Linotype" panose="02040502050505030304" pitchFamily="18" charset="0"/>
              </a:rPr>
              <a:t>GBDT is more robust to outliers, which is very useful for this prediction.</a:t>
            </a:r>
          </a:p>
          <a:p>
            <a:pPr lvl="1"/>
            <a:r>
              <a:rPr lang="en-US" dirty="0">
                <a:solidFill>
                  <a:schemeClr val="tx1"/>
                </a:solidFill>
                <a:latin typeface="Palatino Linotype" panose="02040502050505030304" pitchFamily="18" charset="0"/>
              </a:rPr>
              <a:t>Disadvantages</a:t>
            </a:r>
          </a:p>
          <a:p>
            <a:pPr lvl="2"/>
            <a:r>
              <a:rPr lang="en-US" dirty="0">
                <a:solidFill>
                  <a:schemeClr val="tx1"/>
                </a:solidFill>
                <a:latin typeface="Palatino Linotype" panose="02040502050505030304" pitchFamily="18" charset="0"/>
              </a:rPr>
              <a:t>Because of interdependence within weak learners, it is hard for training data in a paralleled way.</a:t>
            </a:r>
          </a:p>
        </p:txBody>
      </p:sp>
      <p:sp>
        <p:nvSpPr>
          <p:cNvPr id="7" name="Oval 3"/>
          <p:cNvSpPr>
            <a:spLocks noChangeArrowheads="1"/>
          </p:cNvSpPr>
          <p:nvPr>
            <p:custDataLst>
              <p:tags r:id="rId4"/>
            </p:custDataLst>
          </p:nvPr>
        </p:nvSpPr>
        <p:spPr bwMode="auto">
          <a:xfrm>
            <a:off x="4325218" y="3011394"/>
            <a:ext cx="1546225" cy="1548000"/>
          </a:xfrm>
          <a:prstGeom prst="ellipse">
            <a:avLst/>
          </a:prstGeom>
          <a:solidFill>
            <a:schemeClr val="bg2"/>
          </a:solidFill>
          <a:ln w="6350" algn="ctr">
            <a:solidFill>
              <a:schemeClr val="bg1"/>
            </a:solidFill>
            <a:round/>
            <a:headEnd/>
            <a:tailEnd/>
          </a:ln>
        </p:spPr>
        <p:txBody>
          <a:bodyPr lIns="36000" tIns="36000" rIns="36000" bIns="36000" anchor="ctr"/>
          <a:lstStyle/>
          <a:p>
            <a:pPr algn="ctr">
              <a:defRPr/>
            </a:pPr>
            <a:r>
              <a:rPr lang="en-US" sz="1400" b="1" dirty="0">
                <a:solidFill>
                  <a:schemeClr val="bg1"/>
                </a:solidFill>
                <a:latin typeface="Palatino Linotype" panose="02040502050505030304" pitchFamily="18" charset="0"/>
                <a:ea typeface="ＭＳ Ｐゴシック" pitchFamily="50" charset="-128"/>
              </a:rPr>
              <a:t>Model</a:t>
            </a:r>
          </a:p>
        </p:txBody>
      </p:sp>
    </p:spTree>
    <p:extLst>
      <p:ext uri="{BB962C8B-B14F-4D97-AF65-F5344CB8AC3E}">
        <p14:creationId xmlns:p14="http://schemas.microsoft.com/office/powerpoint/2010/main" val="86068167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3.5 Random Forest</a:t>
            </a:r>
          </a:p>
        </p:txBody>
      </p:sp>
      <p:sp>
        <p:nvSpPr>
          <p:cNvPr id="3" name="Text Placeholder 5"/>
          <p:cNvSpPr txBox="1">
            <a:spLocks/>
          </p:cNvSpPr>
          <p:nvPr/>
        </p:nvSpPr>
        <p:spPr>
          <a:xfrm>
            <a:off x="264841" y="1160463"/>
            <a:ext cx="9223869" cy="1990411"/>
          </a:xfrm>
          <a:prstGeom prst="rect">
            <a:avLst/>
          </a:prstGeom>
        </p:spPr>
        <p:txBody>
          <a:bodyPr/>
          <a:lstStyle>
            <a:lvl1pPr marL="188568" indent="-188568" algn="l" defTabSz="957925" rtl="0" eaLnBrk="1" latinLnBrk="0" hangingPunct="1">
              <a:lnSpc>
                <a:spcPct val="90000"/>
              </a:lnSpc>
              <a:spcBef>
                <a:spcPts val="1467"/>
              </a:spcBef>
              <a:buClr>
                <a:schemeClr val="bg2"/>
              </a:buClr>
              <a:buSzPct val="100000"/>
              <a:buFont typeface="Arial" pitchFamily="34" charset="0"/>
              <a:buChar char="■"/>
              <a:defRPr sz="1700" kern="1200">
                <a:solidFill>
                  <a:schemeClr val="tx1"/>
                </a:solidFill>
                <a:latin typeface="Palatino Linotype" panose="02040502050505030304" pitchFamily="18" charset="0"/>
                <a:ea typeface="+mn-ea"/>
                <a:cs typeface="Arial" pitchFamily="34" charset="0"/>
              </a:defRPr>
            </a:lvl1pPr>
            <a:lvl2pPr marL="325695" indent="-134110" algn="l" defTabSz="957925" rtl="0" eaLnBrk="1" latinLnBrk="0" hangingPunct="1">
              <a:lnSpc>
                <a:spcPct val="90000"/>
              </a:lnSpc>
              <a:spcBef>
                <a:spcPts val="943"/>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2pPr>
            <a:lvl3pPr marL="512905" indent="-188568" algn="l" defTabSz="957925" rtl="0" eaLnBrk="1" latinLnBrk="0" hangingPunct="1">
              <a:lnSpc>
                <a:spcPct val="90000"/>
              </a:lnSpc>
              <a:spcBef>
                <a:spcPts val="629"/>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3pPr>
            <a:lvl4pPr marL="663759" indent="-143689" algn="l" defTabSz="957925" rtl="0" eaLnBrk="1" latinLnBrk="0" hangingPunct="1">
              <a:lnSpc>
                <a:spcPct val="90000"/>
              </a:lnSpc>
              <a:spcBef>
                <a:spcPts val="210"/>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4pPr>
            <a:lvl5pPr marL="807071" indent="-143312" algn="l" defTabSz="957925" rtl="0" eaLnBrk="1" latinLnBrk="0" hangingPunct="1">
              <a:lnSpc>
                <a:spcPct val="90000"/>
              </a:lnSpc>
              <a:spcBef>
                <a:spcPts val="105"/>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5pPr>
            <a:lvl6pPr marL="2634295"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3258"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2220"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1183"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r>
              <a:rPr lang="en-US" altLang="zh-CN" sz="1600" b="1" dirty="0"/>
              <a:t>Model: </a:t>
            </a:r>
            <a:r>
              <a:rPr lang="en-US" altLang="zh-CN" sz="1600" dirty="0"/>
              <a:t>Random Forest is like a </a:t>
            </a:r>
            <a:r>
              <a:rPr lang="en-US" altLang="zh-CN" sz="1600" dirty="0" err="1"/>
              <a:t>boostraping</a:t>
            </a:r>
            <a:r>
              <a:rPr lang="en-US" altLang="zh-CN" sz="1600" dirty="0"/>
              <a:t> algorithm with decision tree(CART) model.</a:t>
            </a:r>
            <a:endParaRPr lang="en-US" sz="1600" dirty="0"/>
          </a:p>
          <a:p>
            <a:r>
              <a:rPr lang="en-US" altLang="zh-CN" sz="1600" b="1" dirty="0"/>
              <a:t>Usage: </a:t>
            </a:r>
            <a:r>
              <a:rPr lang="en-US" altLang="zh-CN" sz="1600" dirty="0"/>
              <a:t>Random Forest tries to build multiple CART model with different initial variables</a:t>
            </a:r>
          </a:p>
        </p:txBody>
      </p:sp>
      <p:pic>
        <p:nvPicPr>
          <p:cNvPr id="4" name="Picture 3"/>
          <p:cNvPicPr>
            <a:picLocks noChangeAspect="1"/>
          </p:cNvPicPr>
          <p:nvPr/>
        </p:nvPicPr>
        <p:blipFill>
          <a:blip r:embed="rId2"/>
          <a:stretch>
            <a:fillRect/>
          </a:stretch>
        </p:blipFill>
        <p:spPr>
          <a:xfrm>
            <a:off x="3762654" y="3433575"/>
            <a:ext cx="5726056" cy="2152997"/>
          </a:xfrm>
          <a:prstGeom prst="rect">
            <a:avLst/>
          </a:prstGeom>
        </p:spPr>
      </p:pic>
      <p:sp>
        <p:nvSpPr>
          <p:cNvPr id="7" name="Text Placeholder 5"/>
          <p:cNvSpPr txBox="1">
            <a:spLocks/>
          </p:cNvSpPr>
          <p:nvPr/>
        </p:nvSpPr>
        <p:spPr>
          <a:xfrm>
            <a:off x="271190" y="3070074"/>
            <a:ext cx="3240000" cy="2880000"/>
          </a:xfrm>
          <a:prstGeom prst="rect">
            <a:avLst/>
          </a:prstGeom>
          <a:solidFill>
            <a:schemeClr val="bg1"/>
          </a:solidFill>
          <a:ln w="12700">
            <a:solidFill>
              <a:schemeClr val="bg2"/>
            </a:solidFill>
          </a:ln>
        </p:spPr>
        <p:txBody>
          <a:bodyPr wrap="square" lIns="3600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r>
              <a:rPr lang="en-US" dirty="0">
                <a:solidFill>
                  <a:schemeClr val="tx1"/>
                </a:solidFill>
                <a:latin typeface="Palatino Linotype" panose="02040502050505030304" pitchFamily="18" charset="0"/>
              </a:rPr>
              <a:t>Why we use it in this case?</a:t>
            </a:r>
          </a:p>
          <a:p>
            <a:pPr lvl="1"/>
            <a:r>
              <a:rPr lang="en-US" dirty="0">
                <a:solidFill>
                  <a:schemeClr val="tx1"/>
                </a:solidFill>
                <a:latin typeface="Palatino Linotype" panose="02040502050505030304" pitchFamily="18" charset="0"/>
              </a:rPr>
              <a:t>Easy for us to set parameters, the result doesn’t depend on adjusting parameters.😃</a:t>
            </a:r>
          </a:p>
          <a:p>
            <a:pPr lvl="1"/>
            <a:endParaRPr lang="en-US" dirty="0">
              <a:solidFill>
                <a:schemeClr val="tx1"/>
              </a:solidFill>
              <a:latin typeface="Palatino Linotype" panose="02040502050505030304" pitchFamily="18" charset="0"/>
            </a:endParaRPr>
          </a:p>
          <a:p>
            <a:pPr lvl="1"/>
            <a:r>
              <a:rPr lang="en-US" dirty="0">
                <a:solidFill>
                  <a:schemeClr val="tx1"/>
                </a:solidFill>
                <a:latin typeface="Palatino Linotype" panose="02040502050505030304" pitchFamily="18" charset="0"/>
              </a:rPr>
              <a:t>Don’t need to do special treatment for features.😃</a:t>
            </a:r>
          </a:p>
          <a:p>
            <a:pPr lvl="1"/>
            <a:endParaRPr lang="en-US" dirty="0">
              <a:solidFill>
                <a:schemeClr val="tx1"/>
              </a:solidFill>
              <a:latin typeface="Palatino Linotype" panose="02040502050505030304" pitchFamily="18" charset="0"/>
            </a:endParaRPr>
          </a:p>
          <a:p>
            <a:pPr lvl="1"/>
            <a:r>
              <a:rPr lang="en-US" dirty="0">
                <a:solidFill>
                  <a:schemeClr val="tx1"/>
                </a:solidFill>
                <a:latin typeface="Palatino Linotype" panose="02040502050505030304" pitchFamily="18" charset="0"/>
              </a:rPr>
              <a:t>Not sensitive to outliers, which is helpful for avoiding overfitting😃</a:t>
            </a:r>
          </a:p>
        </p:txBody>
      </p:sp>
    </p:spTree>
    <p:extLst>
      <p:ext uri="{BB962C8B-B14F-4D97-AF65-F5344CB8AC3E}">
        <p14:creationId xmlns:p14="http://schemas.microsoft.com/office/powerpoint/2010/main" val="401940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3.5 </a:t>
            </a:r>
            <a:r>
              <a:rPr lang="en-US" dirty="0" err="1"/>
              <a:t>XGBoost</a:t>
            </a:r>
            <a:endParaRPr lang="en-US" dirty="0"/>
          </a:p>
        </p:txBody>
      </p:sp>
      <p:sp>
        <p:nvSpPr>
          <p:cNvPr id="3" name="Text Placeholder 5"/>
          <p:cNvSpPr txBox="1">
            <a:spLocks/>
          </p:cNvSpPr>
          <p:nvPr/>
        </p:nvSpPr>
        <p:spPr>
          <a:xfrm>
            <a:off x="264841" y="1160463"/>
            <a:ext cx="9223869" cy="1990411"/>
          </a:xfrm>
          <a:prstGeom prst="rect">
            <a:avLst/>
          </a:prstGeom>
        </p:spPr>
        <p:txBody>
          <a:bodyPr/>
          <a:lstStyle>
            <a:lvl1pPr marL="188568" indent="-188568" algn="l" defTabSz="957925" rtl="0" eaLnBrk="1" latinLnBrk="0" hangingPunct="1">
              <a:lnSpc>
                <a:spcPct val="90000"/>
              </a:lnSpc>
              <a:spcBef>
                <a:spcPts val="1467"/>
              </a:spcBef>
              <a:buClr>
                <a:schemeClr val="bg2"/>
              </a:buClr>
              <a:buSzPct val="100000"/>
              <a:buFont typeface="Arial" pitchFamily="34" charset="0"/>
              <a:buChar char="■"/>
              <a:defRPr sz="1700" kern="1200">
                <a:solidFill>
                  <a:schemeClr val="tx1"/>
                </a:solidFill>
                <a:latin typeface="Palatino Linotype" panose="02040502050505030304" pitchFamily="18" charset="0"/>
                <a:ea typeface="+mn-ea"/>
                <a:cs typeface="Arial" pitchFamily="34" charset="0"/>
              </a:defRPr>
            </a:lvl1pPr>
            <a:lvl2pPr marL="325695" indent="-134110" algn="l" defTabSz="957925" rtl="0" eaLnBrk="1" latinLnBrk="0" hangingPunct="1">
              <a:lnSpc>
                <a:spcPct val="90000"/>
              </a:lnSpc>
              <a:spcBef>
                <a:spcPts val="943"/>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2pPr>
            <a:lvl3pPr marL="512905" indent="-188568" algn="l" defTabSz="957925" rtl="0" eaLnBrk="1" latinLnBrk="0" hangingPunct="1">
              <a:lnSpc>
                <a:spcPct val="90000"/>
              </a:lnSpc>
              <a:spcBef>
                <a:spcPts val="629"/>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3pPr>
            <a:lvl4pPr marL="663759" indent="-143689" algn="l" defTabSz="957925" rtl="0" eaLnBrk="1" latinLnBrk="0" hangingPunct="1">
              <a:lnSpc>
                <a:spcPct val="90000"/>
              </a:lnSpc>
              <a:spcBef>
                <a:spcPts val="210"/>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4pPr>
            <a:lvl5pPr marL="807071" indent="-143312" algn="l" defTabSz="957925" rtl="0" eaLnBrk="1" latinLnBrk="0" hangingPunct="1">
              <a:lnSpc>
                <a:spcPct val="90000"/>
              </a:lnSpc>
              <a:spcBef>
                <a:spcPts val="105"/>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5pPr>
            <a:lvl6pPr marL="2634295"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3258"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2220"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1183"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r>
              <a:rPr lang="en-US" altLang="zh-CN" sz="1600" b="1" dirty="0"/>
              <a:t>Model: </a:t>
            </a:r>
            <a:r>
              <a:rPr lang="en-US" sz="1600" dirty="0" err="1"/>
              <a:t>XGBoost</a:t>
            </a:r>
            <a:r>
              <a:rPr lang="en-US" sz="1600" dirty="0"/>
              <a:t> is an optimized distributed gradient boosting library designed to be highly efficient, flexible and portable.</a:t>
            </a:r>
          </a:p>
          <a:p>
            <a:r>
              <a:rPr lang="en-US" altLang="zh-CN" sz="1600" b="1" dirty="0"/>
              <a:t>Usage: </a:t>
            </a:r>
            <a:r>
              <a:rPr lang="en-US" sz="1600" dirty="0" err="1"/>
              <a:t>XGBoost</a:t>
            </a:r>
            <a:r>
              <a:rPr lang="en-US" sz="1600" dirty="0"/>
              <a:t> provides a parallel tree boosting (also known as GBDT, GBM) that solve many data science problems in a fast and accurate way. The same code runs on major distributed environment (Hadoop, SGE, MPI) and can solve problems beyond billions of examples.</a:t>
            </a:r>
            <a:endParaRPr lang="en-US" altLang="zh-CN" sz="1600" dirty="0"/>
          </a:p>
        </p:txBody>
      </p:sp>
      <p:pic>
        <p:nvPicPr>
          <p:cNvPr id="4" name="Picture 3" descr="review"/>
          <p:cNvPicPr/>
          <p:nvPr/>
        </p:nvPicPr>
        <p:blipFill>
          <a:blip r:embed="rId3">
            <a:extLst>
              <a:ext uri="{28A0092B-C50C-407E-A947-70E740481C1C}">
                <a14:useLocalDpi xmlns:a14="http://schemas.microsoft.com/office/drawing/2010/main" val="0"/>
              </a:ext>
            </a:extLst>
          </a:blip>
          <a:srcRect/>
          <a:stretch>
            <a:fillRect/>
          </a:stretch>
        </p:blipFill>
        <p:spPr bwMode="auto">
          <a:xfrm>
            <a:off x="264840" y="2961742"/>
            <a:ext cx="5290820" cy="2753995"/>
          </a:xfrm>
          <a:prstGeom prst="rect">
            <a:avLst/>
          </a:prstGeom>
          <a:noFill/>
          <a:ln>
            <a:noFill/>
          </a:ln>
        </p:spPr>
      </p:pic>
      <p:pic>
        <p:nvPicPr>
          <p:cNvPr id="5" name="Picture 4"/>
          <p:cNvPicPr/>
          <p:nvPr/>
        </p:nvPicPr>
        <p:blipFill>
          <a:blip r:embed="rId4"/>
          <a:stretch>
            <a:fillRect/>
          </a:stretch>
        </p:blipFill>
        <p:spPr>
          <a:xfrm>
            <a:off x="6140338" y="3560396"/>
            <a:ext cx="2984500" cy="571500"/>
          </a:xfrm>
          <a:prstGeom prst="rect">
            <a:avLst/>
          </a:prstGeom>
        </p:spPr>
      </p:pic>
      <p:pic>
        <p:nvPicPr>
          <p:cNvPr id="6" name="Picture 5"/>
          <p:cNvPicPr/>
          <p:nvPr/>
        </p:nvPicPr>
        <p:blipFill>
          <a:blip r:embed="rId5"/>
          <a:stretch>
            <a:fillRect/>
          </a:stretch>
        </p:blipFill>
        <p:spPr>
          <a:xfrm>
            <a:off x="6527688" y="4541418"/>
            <a:ext cx="2209800" cy="660400"/>
          </a:xfrm>
          <a:prstGeom prst="rect">
            <a:avLst/>
          </a:prstGeom>
        </p:spPr>
      </p:pic>
    </p:spTree>
    <p:extLst>
      <p:ext uri="{BB962C8B-B14F-4D97-AF65-F5344CB8AC3E}">
        <p14:creationId xmlns:p14="http://schemas.microsoft.com/office/powerpoint/2010/main" val="5908363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标题 11"/>
          <p:cNvSpPr>
            <a:spLocks noGrp="1"/>
          </p:cNvSpPr>
          <p:nvPr>
            <p:ph type="ctrTitle"/>
          </p:nvPr>
        </p:nvSpPr>
        <p:spPr/>
        <p:txBody>
          <a:bodyPr/>
          <a:lstStyle/>
          <a:p>
            <a:endParaRPr lang="zh-CN" altLang="en-US" dirty="0">
              <a:latin typeface="Palatino Linotype" panose="02040502050505030304" pitchFamily="18" charset="0"/>
              <a:ea typeface="微软雅黑" panose="020B0503020204020204" pitchFamily="34" charset="-122"/>
              <a:sym typeface="Palatino Linotype" panose="02040502050505030304" pitchFamily="18" charset="0"/>
            </a:endParaRPr>
          </a:p>
        </p:txBody>
      </p:sp>
      <p:sp>
        <p:nvSpPr>
          <p:cNvPr id="13" name="副标题 12"/>
          <p:cNvSpPr>
            <a:spLocks noGrp="1"/>
          </p:cNvSpPr>
          <p:nvPr>
            <p:ph type="subTitle" idx="1"/>
          </p:nvPr>
        </p:nvSpPr>
        <p:spPr>
          <a:xfrm>
            <a:off x="265157" y="3065354"/>
            <a:ext cx="9361046" cy="263149"/>
          </a:xfrm>
        </p:spPr>
        <p:txBody>
          <a:bodyPr/>
          <a:lstStyle/>
          <a:p>
            <a:endParaRPr lang="zh-CN" altLang="en-US" dirty="0">
              <a:latin typeface="Palatino Linotype" panose="02040502050505030304" pitchFamily="18" charset="0"/>
              <a:ea typeface="微软雅黑" panose="020B0503020204020204" pitchFamily="34" charset="-122"/>
              <a:sym typeface="Palatino Linotype" panose="02040502050505030304" pitchFamily="18" charset="0"/>
            </a:endParaRPr>
          </a:p>
        </p:txBody>
      </p:sp>
      <p:grpSp>
        <p:nvGrpSpPr>
          <p:cNvPr id="42" name="组合 41"/>
          <p:cNvGrpSpPr/>
          <p:nvPr/>
        </p:nvGrpSpPr>
        <p:grpSpPr>
          <a:xfrm>
            <a:off x="0" y="2433247"/>
            <a:ext cx="9904095" cy="1965630"/>
            <a:chOff x="170694" y="177982"/>
            <a:chExt cx="3936004" cy="781165"/>
          </a:xfrm>
        </p:grpSpPr>
        <p:sp>
          <p:nvSpPr>
            <p:cNvPr id="44" name="等腰三角形 43"/>
            <p:cNvSpPr/>
            <p:nvPr/>
          </p:nvSpPr>
          <p:spPr>
            <a:xfrm>
              <a:off x="1233863" y="177982"/>
              <a:ext cx="355284" cy="356514"/>
            </a:xfrm>
            <a:prstGeom prst="triangl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4280" tIns="37140" rIns="74280" bIns="37140" rtlCol="0" anchor="ctr"/>
            <a:lstStyle/>
            <a:p>
              <a:pPr marL="0" marR="0" lvl="0" indent="0" algn="ctr" defTabSz="958215" rtl="0" eaLnBrk="1" fontAlgn="auto" latinLnBrk="0" hangingPunct="1">
                <a:lnSpc>
                  <a:spcPct val="100000"/>
                </a:lnSpc>
                <a:spcBef>
                  <a:spcPts val="0"/>
                </a:spcBef>
                <a:spcAft>
                  <a:spcPts val="0"/>
                </a:spcAft>
                <a:buClrTx/>
                <a:buSzTx/>
                <a:buFontTx/>
                <a:buNone/>
                <a:tabLst/>
                <a:defRPr/>
              </a:pPr>
              <a:endParaRPr kumimoji="0" lang="zh-CN" altLang="en-US" sz="2060" b="0" i="0" u="none" strike="noStrike" kern="1200" cap="none" spc="0" normalizeH="0" baseline="0" noProof="0">
                <a:ln>
                  <a:noFill/>
                </a:ln>
                <a:solidFill>
                  <a:srgbClr val="FFFFFF"/>
                </a:solidFill>
                <a:effectLst/>
                <a:uLnTx/>
                <a:uFillTx/>
                <a:latin typeface="Palatino Linotype" panose="02040502050505030304" pitchFamily="18" charset="0"/>
                <a:ea typeface="微软雅黑" panose="020B0503020204020204" pitchFamily="34" charset="-122"/>
                <a:sym typeface="Palatino Linotype" panose="02040502050505030304" pitchFamily="18" charset="0"/>
              </a:endParaRPr>
            </a:p>
          </p:txBody>
        </p:sp>
        <p:sp>
          <p:nvSpPr>
            <p:cNvPr id="45" name="等腰三角形 44"/>
            <p:cNvSpPr/>
            <p:nvPr/>
          </p:nvSpPr>
          <p:spPr>
            <a:xfrm flipV="1">
              <a:off x="200258" y="602633"/>
              <a:ext cx="355284" cy="356514"/>
            </a:xfrm>
            <a:prstGeom prst="triangl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4280" tIns="37140" rIns="74280" bIns="37140" rtlCol="0" anchor="ctr"/>
            <a:lstStyle/>
            <a:p>
              <a:pPr marL="0" marR="0" lvl="0" indent="0" algn="ctr" defTabSz="958215" rtl="0" eaLnBrk="1" fontAlgn="auto" latinLnBrk="0" hangingPunct="1">
                <a:lnSpc>
                  <a:spcPct val="100000"/>
                </a:lnSpc>
                <a:spcBef>
                  <a:spcPts val="0"/>
                </a:spcBef>
                <a:spcAft>
                  <a:spcPts val="0"/>
                </a:spcAft>
                <a:buClrTx/>
                <a:buSzTx/>
                <a:buFontTx/>
                <a:buNone/>
                <a:tabLst/>
                <a:defRPr/>
              </a:pPr>
              <a:endParaRPr kumimoji="0" lang="zh-CN" altLang="en-US" sz="2060" b="0" i="0" u="none" strike="noStrike" kern="1200" cap="none" spc="0" normalizeH="0" baseline="0" noProof="0">
                <a:ln>
                  <a:noFill/>
                </a:ln>
                <a:solidFill>
                  <a:srgbClr val="FFFFFF"/>
                </a:solidFill>
                <a:effectLst/>
                <a:uLnTx/>
                <a:uFillTx/>
                <a:latin typeface="Palatino Linotype" panose="02040502050505030304" pitchFamily="18" charset="0"/>
                <a:ea typeface="微软雅黑" panose="020B0503020204020204" pitchFamily="34" charset="-122"/>
                <a:sym typeface="Palatino Linotype" panose="02040502050505030304" pitchFamily="18" charset="0"/>
              </a:endParaRPr>
            </a:p>
          </p:txBody>
        </p:sp>
        <p:sp>
          <p:nvSpPr>
            <p:cNvPr id="46" name="矩形 45"/>
            <p:cNvSpPr/>
            <p:nvPr/>
          </p:nvSpPr>
          <p:spPr>
            <a:xfrm>
              <a:off x="170694" y="261768"/>
              <a:ext cx="3936004" cy="6119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4280" tIns="37140" rIns="74280" bIns="37140" rtlCol="0" anchor="ctr"/>
            <a:lstStyle/>
            <a:p>
              <a:pPr marL="0" marR="0" lvl="0" indent="0" algn="ctr" defTabSz="958215" rtl="0" eaLnBrk="1" fontAlgn="auto" latinLnBrk="0" hangingPunct="1">
                <a:lnSpc>
                  <a:spcPct val="100000"/>
                </a:lnSpc>
                <a:spcBef>
                  <a:spcPts val="0"/>
                </a:spcBef>
                <a:spcAft>
                  <a:spcPts val="0"/>
                </a:spcAft>
                <a:buClrTx/>
                <a:buSzTx/>
                <a:buFontTx/>
                <a:buNone/>
                <a:tabLst/>
                <a:defRPr/>
              </a:pPr>
              <a:endParaRPr kumimoji="0" lang="zh-CN" altLang="en-US" sz="2060" b="0" i="0" u="none" strike="noStrike" kern="1200" cap="none" spc="0" normalizeH="0" baseline="0" noProof="0">
                <a:ln>
                  <a:noFill/>
                </a:ln>
                <a:solidFill>
                  <a:srgbClr val="FFFFFF"/>
                </a:solidFill>
                <a:effectLst/>
                <a:uLnTx/>
                <a:uFillTx/>
                <a:latin typeface="Palatino Linotype" panose="02040502050505030304" pitchFamily="18" charset="0"/>
                <a:ea typeface="微软雅黑" panose="020B0503020204020204" pitchFamily="34" charset="-122"/>
                <a:sym typeface="Palatino Linotype" panose="02040502050505030304" pitchFamily="18" charset="0"/>
              </a:endParaRPr>
            </a:p>
          </p:txBody>
        </p:sp>
        <p:sp>
          <p:nvSpPr>
            <p:cNvPr id="47" name="平行四边形 46"/>
            <p:cNvSpPr/>
            <p:nvPr/>
          </p:nvSpPr>
          <p:spPr>
            <a:xfrm>
              <a:off x="376965" y="178257"/>
              <a:ext cx="1036076" cy="779005"/>
            </a:xfrm>
            <a:prstGeom prst="parallelogram">
              <a:avLst>
                <a:gd name="adj" fmla="val 48207"/>
              </a:avLst>
            </a:prstGeom>
            <a:solidFill>
              <a:srgbClr val="B42100"/>
            </a:solidFill>
            <a:ln>
              <a:noFill/>
            </a:ln>
          </p:spPr>
          <p:style>
            <a:lnRef idx="2">
              <a:schemeClr val="accent1">
                <a:shade val="50000"/>
              </a:schemeClr>
            </a:lnRef>
            <a:fillRef idx="1">
              <a:schemeClr val="accent1"/>
            </a:fillRef>
            <a:effectRef idx="0">
              <a:schemeClr val="accent1"/>
            </a:effectRef>
            <a:fontRef idx="minor">
              <a:schemeClr val="lt1"/>
            </a:fontRef>
          </p:style>
          <p:txBody>
            <a:bodyPr lIns="74280" tIns="37140" rIns="74280" bIns="37140" rtlCol="0" anchor="ctr"/>
            <a:lstStyle/>
            <a:p>
              <a:pPr marL="0" marR="0" lvl="0" indent="0" algn="ctr" defTabSz="958215" rtl="0" eaLnBrk="1" fontAlgn="auto" latinLnBrk="0" hangingPunct="1">
                <a:lnSpc>
                  <a:spcPct val="100000"/>
                </a:lnSpc>
                <a:spcBef>
                  <a:spcPts val="0"/>
                </a:spcBef>
                <a:spcAft>
                  <a:spcPts val="0"/>
                </a:spcAft>
                <a:buClrTx/>
                <a:buSzTx/>
                <a:buFontTx/>
                <a:buNone/>
                <a:tabLst/>
                <a:defRPr/>
              </a:pPr>
              <a:endParaRPr kumimoji="0" lang="zh-CN" altLang="en-US" sz="2060" b="0" i="0" u="none" strike="noStrike" kern="1200" cap="none" spc="0" normalizeH="0" baseline="0" noProof="0">
                <a:ln>
                  <a:noFill/>
                </a:ln>
                <a:solidFill>
                  <a:srgbClr val="FFFFFF"/>
                </a:solidFill>
                <a:effectLst/>
                <a:uLnTx/>
                <a:uFillTx/>
                <a:latin typeface="Palatino Linotype" panose="02040502050505030304" pitchFamily="18" charset="0"/>
                <a:ea typeface="微软雅黑" panose="020B0503020204020204" pitchFamily="34" charset="-122"/>
                <a:sym typeface="Palatino Linotype" panose="02040502050505030304" pitchFamily="18" charset="0"/>
              </a:endParaRPr>
            </a:p>
          </p:txBody>
        </p:sp>
        <p:sp>
          <p:nvSpPr>
            <p:cNvPr id="48" name="文本框 6"/>
            <p:cNvSpPr txBox="1"/>
            <p:nvPr/>
          </p:nvSpPr>
          <p:spPr>
            <a:xfrm>
              <a:off x="650907" y="284178"/>
              <a:ext cx="569115" cy="559222"/>
            </a:xfrm>
            <a:prstGeom prst="rect">
              <a:avLst/>
            </a:prstGeom>
            <a:noFill/>
          </p:spPr>
          <p:txBody>
            <a:bodyPr wrap="square" lIns="74280" tIns="37140" rIns="74280" bIns="37140" rtlCol="0">
              <a:spAutoFit/>
            </a:bodyPr>
            <a:lstStyle/>
            <a:p>
              <a:pPr marL="0" marR="0" lvl="0" indent="0" algn="l" defTabSz="958215" rtl="0" eaLnBrk="1" fontAlgn="auto" latinLnBrk="0" hangingPunct="1">
                <a:lnSpc>
                  <a:spcPct val="100000"/>
                </a:lnSpc>
                <a:spcBef>
                  <a:spcPts val="0"/>
                </a:spcBef>
                <a:spcAft>
                  <a:spcPts val="0"/>
                </a:spcAft>
                <a:buClrTx/>
                <a:buSzTx/>
                <a:buFontTx/>
                <a:buNone/>
                <a:tabLst/>
                <a:defRPr/>
              </a:pPr>
              <a:r>
                <a:rPr lang="en-US" altLang="zh-CN" sz="8665" dirty="0">
                  <a:solidFill>
                    <a:srgbClr val="FFFFFF">
                      <a:lumMod val="95000"/>
                    </a:srgbClr>
                  </a:solidFill>
                  <a:latin typeface="Palatino Linotype" panose="02040502050505030304" pitchFamily="18" charset="0"/>
                  <a:ea typeface="微软雅黑" panose="020B0503020204020204" pitchFamily="34" charset="-122"/>
                  <a:sym typeface="Palatino Linotype" panose="02040502050505030304" pitchFamily="18" charset="0"/>
                </a:rPr>
                <a:t>04</a:t>
              </a:r>
              <a:endParaRPr kumimoji="0" lang="zh-CN" altLang="en-US" sz="8665" b="0" i="0" u="none" strike="noStrike" kern="1200" cap="none" spc="0" normalizeH="0" baseline="0" noProof="0" dirty="0">
                <a:ln>
                  <a:noFill/>
                </a:ln>
                <a:solidFill>
                  <a:srgbClr val="FFFFFF">
                    <a:lumMod val="95000"/>
                  </a:srgbClr>
                </a:solidFill>
                <a:effectLst/>
                <a:uLnTx/>
                <a:uFillTx/>
                <a:latin typeface="Palatino Linotype" panose="02040502050505030304" pitchFamily="18" charset="0"/>
                <a:ea typeface="微软雅黑" panose="020B0503020204020204" pitchFamily="34" charset="-122"/>
                <a:sym typeface="Palatino Linotype" panose="02040502050505030304" pitchFamily="18" charset="0"/>
              </a:endParaRPr>
            </a:p>
          </p:txBody>
        </p:sp>
      </p:grpSp>
      <p:sp>
        <p:nvSpPr>
          <p:cNvPr id="49" name="TextBox 48"/>
          <p:cNvSpPr txBox="1"/>
          <p:nvPr/>
        </p:nvSpPr>
        <p:spPr>
          <a:xfrm>
            <a:off x="3143058" y="2787176"/>
            <a:ext cx="6740343" cy="1429224"/>
          </a:xfrm>
          <a:prstGeom prst="rect">
            <a:avLst/>
          </a:prstGeom>
          <a:noFill/>
        </p:spPr>
        <p:txBody>
          <a:bodyPr wrap="square" lIns="74285" tIns="37141" rIns="74285" bIns="37141" rtlCol="0">
            <a:spAutoFit/>
          </a:bodyPr>
          <a:lstStyle/>
          <a:p>
            <a:pPr lvl="0">
              <a:defRPr/>
            </a:pPr>
            <a:r>
              <a:rPr lang="en-GB" altLang="zh-CN" sz="4400" b="1" dirty="0">
                <a:solidFill>
                  <a:srgbClr val="000000">
                    <a:lumMod val="75000"/>
                    <a:lumOff val="25000"/>
                  </a:srgbClr>
                </a:solidFill>
                <a:latin typeface="Palatino Linotype" panose="02040502050505030304" pitchFamily="18" charset="0"/>
                <a:ea typeface="微软雅黑" panose="020B0503020204020204" pitchFamily="34" charset="-122"/>
                <a:sym typeface="Palatino Linotype" panose="02040502050505030304" pitchFamily="18" charset="0"/>
              </a:rPr>
              <a:t>Training, Evaluation &amp;   		    Prediction</a:t>
            </a:r>
            <a:endParaRPr lang="en" altLang="zh-CN" sz="4400" b="1" dirty="0">
              <a:solidFill>
                <a:srgbClr val="000000">
                  <a:lumMod val="75000"/>
                  <a:lumOff val="25000"/>
                </a:srgbClr>
              </a:solidFill>
              <a:latin typeface="Palatino Linotype" panose="02040502050505030304" pitchFamily="18" charset="0"/>
              <a:ea typeface="微软雅黑" panose="020B0503020204020204" pitchFamily="34" charset="-122"/>
              <a:sym typeface="Palatino Linotype" panose="02040502050505030304" pitchFamily="18" charset="0"/>
            </a:endParaRPr>
          </a:p>
        </p:txBody>
      </p:sp>
    </p:spTree>
    <p:extLst>
      <p:ext uri="{BB962C8B-B14F-4D97-AF65-F5344CB8AC3E}">
        <p14:creationId xmlns:p14="http://schemas.microsoft.com/office/powerpoint/2010/main" val="9612752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dirty="0"/>
              <a:t>4.1 Method selection</a:t>
            </a:r>
          </a:p>
        </p:txBody>
      </p:sp>
      <p:sp>
        <p:nvSpPr>
          <p:cNvPr id="5" name="矩形: 圆角 4">
            <a:extLst>
              <a:ext uri="{FF2B5EF4-FFF2-40B4-BE49-F238E27FC236}">
                <a16:creationId xmlns:a16="http://schemas.microsoft.com/office/drawing/2014/main" id="{7735BB91-6518-4C1C-9C6C-B4C92278838D}"/>
              </a:ext>
            </a:extLst>
          </p:cNvPr>
          <p:cNvSpPr/>
          <p:nvPr/>
        </p:nvSpPr>
        <p:spPr>
          <a:xfrm>
            <a:off x="403512" y="2264312"/>
            <a:ext cx="2649959" cy="893363"/>
          </a:xfrm>
          <a:prstGeom prst="roundRect">
            <a:avLst/>
          </a:prstGeom>
          <a:solidFill>
            <a:srgbClr val="9B1717"/>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r>
              <a:rPr lang="en-US" altLang="zh-CN" sz="1800" dirty="0">
                <a:solidFill>
                  <a:schemeClr val="bg1"/>
                </a:solidFill>
                <a:latin typeface="Arial" pitchFamily="34" charset="0"/>
                <a:cs typeface="Arial" pitchFamily="34" charset="0"/>
              </a:rPr>
              <a:t>Single User Modeling</a:t>
            </a:r>
            <a:endParaRPr lang="zh-CN" altLang="en-US" sz="1800" dirty="0" err="1">
              <a:solidFill>
                <a:schemeClr val="bg1"/>
              </a:solidFill>
              <a:latin typeface="Arial" pitchFamily="34" charset="0"/>
              <a:cs typeface="Arial" pitchFamily="34" charset="0"/>
            </a:endParaRPr>
          </a:p>
        </p:txBody>
      </p:sp>
      <p:sp>
        <p:nvSpPr>
          <p:cNvPr id="18" name="矩形: 圆角 17">
            <a:extLst>
              <a:ext uri="{FF2B5EF4-FFF2-40B4-BE49-F238E27FC236}">
                <a16:creationId xmlns:a16="http://schemas.microsoft.com/office/drawing/2014/main" id="{CBEDB2E7-0F23-4C94-9FE1-DD38275E8ABB}"/>
              </a:ext>
            </a:extLst>
          </p:cNvPr>
          <p:cNvSpPr/>
          <p:nvPr/>
        </p:nvSpPr>
        <p:spPr>
          <a:xfrm>
            <a:off x="410122" y="3530378"/>
            <a:ext cx="2649959" cy="893363"/>
          </a:xfrm>
          <a:prstGeom prst="roundRect">
            <a:avLst/>
          </a:prstGeom>
          <a:solidFill>
            <a:srgbClr val="9B1717"/>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r>
              <a:rPr lang="en-US" altLang="zh-CN" sz="1800" dirty="0">
                <a:solidFill>
                  <a:schemeClr val="bg1"/>
                </a:solidFill>
                <a:latin typeface="Arial" pitchFamily="34" charset="0"/>
                <a:cs typeface="Arial" pitchFamily="34" charset="0"/>
              </a:rPr>
              <a:t>User Group Modeling</a:t>
            </a:r>
            <a:endParaRPr lang="zh-CN" altLang="en-US" sz="1800" dirty="0" err="1">
              <a:solidFill>
                <a:schemeClr val="bg1"/>
              </a:solidFill>
              <a:latin typeface="Arial" pitchFamily="34" charset="0"/>
              <a:cs typeface="Arial" pitchFamily="34" charset="0"/>
            </a:endParaRPr>
          </a:p>
        </p:txBody>
      </p:sp>
      <p:sp>
        <p:nvSpPr>
          <p:cNvPr id="19" name="矩形: 圆角 18">
            <a:extLst>
              <a:ext uri="{FF2B5EF4-FFF2-40B4-BE49-F238E27FC236}">
                <a16:creationId xmlns:a16="http://schemas.microsoft.com/office/drawing/2014/main" id="{E34F9040-DE3B-4501-AA99-D2C07DEE50E0}"/>
              </a:ext>
            </a:extLst>
          </p:cNvPr>
          <p:cNvSpPr/>
          <p:nvPr/>
        </p:nvSpPr>
        <p:spPr>
          <a:xfrm>
            <a:off x="403512" y="4794374"/>
            <a:ext cx="2649959" cy="893363"/>
          </a:xfrm>
          <a:prstGeom prst="roundRect">
            <a:avLst/>
          </a:prstGeom>
          <a:solidFill>
            <a:srgbClr val="9B1717"/>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r>
              <a:rPr lang="en-US" altLang="zh-CN" sz="1800" dirty="0">
                <a:solidFill>
                  <a:schemeClr val="bg1"/>
                </a:solidFill>
                <a:latin typeface="Arial" pitchFamily="34" charset="0"/>
                <a:cs typeface="Arial" pitchFamily="34" charset="0"/>
              </a:rPr>
              <a:t>Daily Amount</a:t>
            </a:r>
            <a:endParaRPr lang="zh-CN" altLang="en-US" sz="1800" dirty="0" err="1">
              <a:solidFill>
                <a:schemeClr val="bg1"/>
              </a:solidFill>
              <a:latin typeface="Arial" pitchFamily="34" charset="0"/>
              <a:cs typeface="Arial" pitchFamily="34" charset="0"/>
            </a:endParaRPr>
          </a:p>
        </p:txBody>
      </p:sp>
      <p:sp>
        <p:nvSpPr>
          <p:cNvPr id="16" name="箭头: 右 15">
            <a:extLst>
              <a:ext uri="{FF2B5EF4-FFF2-40B4-BE49-F238E27FC236}">
                <a16:creationId xmlns:a16="http://schemas.microsoft.com/office/drawing/2014/main" id="{E033BDCA-DEB5-453A-A1B7-45377030B49A}"/>
              </a:ext>
            </a:extLst>
          </p:cNvPr>
          <p:cNvSpPr/>
          <p:nvPr/>
        </p:nvSpPr>
        <p:spPr>
          <a:xfrm>
            <a:off x="3139815" y="2512971"/>
            <a:ext cx="648072" cy="396044"/>
          </a:xfrm>
          <a:prstGeom prst="rightArrow">
            <a:avLst/>
          </a:prstGeom>
          <a:solidFill>
            <a:schemeClr val="bg1">
              <a:lumMod val="6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zh-CN" altLang="en-US" sz="1400" dirty="0" err="1">
              <a:solidFill>
                <a:schemeClr val="bg1"/>
              </a:solidFill>
              <a:latin typeface="Arial" pitchFamily="34" charset="0"/>
              <a:cs typeface="Arial" pitchFamily="34" charset="0"/>
            </a:endParaRPr>
          </a:p>
        </p:txBody>
      </p:sp>
      <p:sp>
        <p:nvSpPr>
          <p:cNvPr id="21" name="矩形: 圆角 20">
            <a:extLst>
              <a:ext uri="{FF2B5EF4-FFF2-40B4-BE49-F238E27FC236}">
                <a16:creationId xmlns:a16="http://schemas.microsoft.com/office/drawing/2014/main" id="{C5DC4EBF-6A04-4CB6-A293-208978FA3DD0}"/>
              </a:ext>
            </a:extLst>
          </p:cNvPr>
          <p:cNvSpPr/>
          <p:nvPr/>
        </p:nvSpPr>
        <p:spPr>
          <a:xfrm>
            <a:off x="3874231" y="2264312"/>
            <a:ext cx="2649959" cy="893363"/>
          </a:xfrm>
          <a:prstGeom prst="roundRect">
            <a:avLst/>
          </a:prstGeom>
          <a:solidFill>
            <a:srgbClr val="9B1717"/>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r>
              <a:rPr lang="en-US" altLang="zh-CN" sz="1800" dirty="0">
                <a:solidFill>
                  <a:schemeClr val="bg1"/>
                </a:solidFill>
                <a:latin typeface="Arial" pitchFamily="34" charset="0"/>
                <a:cs typeface="Arial" pitchFamily="34" charset="0"/>
              </a:rPr>
              <a:t>Prediction and summary</a:t>
            </a:r>
            <a:endParaRPr lang="zh-CN" altLang="en-US" sz="1800" dirty="0" err="1">
              <a:solidFill>
                <a:schemeClr val="bg1"/>
              </a:solidFill>
              <a:latin typeface="Arial" pitchFamily="34" charset="0"/>
              <a:cs typeface="Arial" pitchFamily="34" charset="0"/>
            </a:endParaRPr>
          </a:p>
        </p:txBody>
      </p:sp>
      <p:sp>
        <p:nvSpPr>
          <p:cNvPr id="22" name="矩形: 圆角 21">
            <a:extLst>
              <a:ext uri="{FF2B5EF4-FFF2-40B4-BE49-F238E27FC236}">
                <a16:creationId xmlns:a16="http://schemas.microsoft.com/office/drawing/2014/main" id="{FD208EB4-5A42-415A-AAFA-AD2C1F71AA63}"/>
              </a:ext>
            </a:extLst>
          </p:cNvPr>
          <p:cNvSpPr/>
          <p:nvPr/>
        </p:nvSpPr>
        <p:spPr>
          <a:xfrm>
            <a:off x="3880842" y="3528306"/>
            <a:ext cx="2649959" cy="893363"/>
          </a:xfrm>
          <a:prstGeom prst="roundRect">
            <a:avLst/>
          </a:prstGeom>
          <a:solidFill>
            <a:srgbClr val="9B1717"/>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r>
              <a:rPr lang="en-US" altLang="zh-CN" sz="1800" dirty="0">
                <a:solidFill>
                  <a:schemeClr val="bg1"/>
                </a:solidFill>
                <a:latin typeface="Arial" pitchFamily="34" charset="0"/>
                <a:cs typeface="Arial" pitchFamily="34" charset="0"/>
              </a:rPr>
              <a:t>Prediction by group and summary</a:t>
            </a:r>
            <a:endParaRPr lang="zh-CN" altLang="en-US" sz="1800" dirty="0" err="1">
              <a:solidFill>
                <a:schemeClr val="bg1"/>
              </a:solidFill>
              <a:latin typeface="Arial" pitchFamily="34" charset="0"/>
              <a:cs typeface="Arial" pitchFamily="34" charset="0"/>
            </a:endParaRPr>
          </a:p>
        </p:txBody>
      </p:sp>
      <p:sp>
        <p:nvSpPr>
          <p:cNvPr id="23" name="矩形: 圆角 22">
            <a:extLst>
              <a:ext uri="{FF2B5EF4-FFF2-40B4-BE49-F238E27FC236}">
                <a16:creationId xmlns:a16="http://schemas.microsoft.com/office/drawing/2014/main" id="{9690D187-0FAC-4371-B848-310023242A72}"/>
              </a:ext>
            </a:extLst>
          </p:cNvPr>
          <p:cNvSpPr/>
          <p:nvPr/>
        </p:nvSpPr>
        <p:spPr>
          <a:xfrm>
            <a:off x="3874231" y="4794373"/>
            <a:ext cx="2649959" cy="893363"/>
          </a:xfrm>
          <a:prstGeom prst="roundRect">
            <a:avLst/>
          </a:prstGeom>
          <a:solidFill>
            <a:srgbClr val="9B1717"/>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r>
              <a:rPr lang="en-US" altLang="zh-CN" sz="1800" dirty="0">
                <a:solidFill>
                  <a:schemeClr val="bg1"/>
                </a:solidFill>
                <a:latin typeface="Arial" pitchFamily="34" charset="0"/>
                <a:cs typeface="Arial" pitchFamily="34" charset="0"/>
              </a:rPr>
              <a:t>Prediction</a:t>
            </a:r>
            <a:endParaRPr lang="zh-CN" altLang="en-US" sz="1800" dirty="0" err="1">
              <a:solidFill>
                <a:schemeClr val="bg1"/>
              </a:solidFill>
              <a:latin typeface="Arial" pitchFamily="34" charset="0"/>
              <a:cs typeface="Arial" pitchFamily="34" charset="0"/>
            </a:endParaRPr>
          </a:p>
        </p:txBody>
      </p:sp>
      <p:sp>
        <p:nvSpPr>
          <p:cNvPr id="24" name="箭头: 右 23">
            <a:extLst>
              <a:ext uri="{FF2B5EF4-FFF2-40B4-BE49-F238E27FC236}">
                <a16:creationId xmlns:a16="http://schemas.microsoft.com/office/drawing/2014/main" id="{E9DAE06A-34BA-4459-B683-75115D1B583B}"/>
              </a:ext>
            </a:extLst>
          </p:cNvPr>
          <p:cNvSpPr/>
          <p:nvPr/>
        </p:nvSpPr>
        <p:spPr>
          <a:xfrm>
            <a:off x="3146425" y="3776965"/>
            <a:ext cx="648072" cy="396044"/>
          </a:xfrm>
          <a:prstGeom prst="rightArrow">
            <a:avLst/>
          </a:prstGeom>
          <a:solidFill>
            <a:schemeClr val="bg1">
              <a:lumMod val="6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zh-CN" altLang="en-US" sz="1400" dirty="0" err="1">
              <a:solidFill>
                <a:schemeClr val="bg1"/>
              </a:solidFill>
              <a:latin typeface="Arial" pitchFamily="34" charset="0"/>
              <a:cs typeface="Arial" pitchFamily="34" charset="0"/>
            </a:endParaRPr>
          </a:p>
        </p:txBody>
      </p:sp>
      <p:sp>
        <p:nvSpPr>
          <p:cNvPr id="25" name="箭头: 右 24">
            <a:extLst>
              <a:ext uri="{FF2B5EF4-FFF2-40B4-BE49-F238E27FC236}">
                <a16:creationId xmlns:a16="http://schemas.microsoft.com/office/drawing/2014/main" id="{85E15EBA-B9E6-46F0-8BD0-09607783B504}"/>
              </a:ext>
            </a:extLst>
          </p:cNvPr>
          <p:cNvSpPr/>
          <p:nvPr/>
        </p:nvSpPr>
        <p:spPr>
          <a:xfrm>
            <a:off x="3139815" y="5040959"/>
            <a:ext cx="648072" cy="396044"/>
          </a:xfrm>
          <a:prstGeom prst="rightArrow">
            <a:avLst/>
          </a:prstGeom>
          <a:solidFill>
            <a:schemeClr val="bg1">
              <a:lumMod val="6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zh-CN" altLang="en-US" sz="1400" dirty="0" err="1">
              <a:solidFill>
                <a:schemeClr val="bg1"/>
              </a:solidFill>
              <a:latin typeface="Arial" pitchFamily="34" charset="0"/>
              <a:cs typeface="Arial" pitchFamily="34" charset="0"/>
            </a:endParaRPr>
          </a:p>
        </p:txBody>
      </p:sp>
      <p:sp>
        <p:nvSpPr>
          <p:cNvPr id="26" name="L 形 25">
            <a:extLst>
              <a:ext uri="{FF2B5EF4-FFF2-40B4-BE49-F238E27FC236}">
                <a16:creationId xmlns:a16="http://schemas.microsoft.com/office/drawing/2014/main" id="{306AF223-1552-4748-9ED3-BC24FA849ABE}"/>
              </a:ext>
            </a:extLst>
          </p:cNvPr>
          <p:cNvSpPr/>
          <p:nvPr/>
        </p:nvSpPr>
        <p:spPr>
          <a:xfrm rot="-2580000">
            <a:off x="6876883" y="4896069"/>
            <a:ext cx="1023058" cy="593510"/>
          </a:xfrm>
          <a:prstGeom prst="corner">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zh-CN" altLang="en-US" sz="1400" dirty="0" err="1">
              <a:solidFill>
                <a:schemeClr val="bg1"/>
              </a:solidFill>
              <a:latin typeface="Arial" pitchFamily="34" charset="0"/>
              <a:cs typeface="Arial" pitchFamily="34" charset="0"/>
            </a:endParaRPr>
          </a:p>
        </p:txBody>
      </p:sp>
      <p:sp>
        <p:nvSpPr>
          <p:cNvPr id="27" name="乘号 26">
            <a:extLst>
              <a:ext uri="{FF2B5EF4-FFF2-40B4-BE49-F238E27FC236}">
                <a16:creationId xmlns:a16="http://schemas.microsoft.com/office/drawing/2014/main" id="{65E47B37-A20D-4615-95D7-9D4231762DEC}"/>
              </a:ext>
            </a:extLst>
          </p:cNvPr>
          <p:cNvSpPr/>
          <p:nvPr/>
        </p:nvSpPr>
        <p:spPr>
          <a:xfrm>
            <a:off x="6806521" y="2133650"/>
            <a:ext cx="1152992" cy="1131790"/>
          </a:xfrm>
          <a:prstGeom prst="mathMultiply">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zh-CN" altLang="en-US" sz="1400" dirty="0" err="1">
              <a:solidFill>
                <a:schemeClr val="bg1"/>
              </a:solidFill>
              <a:latin typeface="Arial" pitchFamily="34" charset="0"/>
              <a:cs typeface="Arial" pitchFamily="34" charset="0"/>
            </a:endParaRPr>
          </a:p>
        </p:txBody>
      </p:sp>
      <p:sp>
        <p:nvSpPr>
          <p:cNvPr id="28" name="文本框 27">
            <a:extLst>
              <a:ext uri="{FF2B5EF4-FFF2-40B4-BE49-F238E27FC236}">
                <a16:creationId xmlns:a16="http://schemas.microsoft.com/office/drawing/2014/main" id="{C1B6C77E-14D7-4ADD-8725-71BA9396D50A}"/>
              </a:ext>
            </a:extLst>
          </p:cNvPr>
          <p:cNvSpPr txBox="1"/>
          <p:nvPr/>
        </p:nvSpPr>
        <p:spPr>
          <a:xfrm>
            <a:off x="8241844" y="3233022"/>
            <a:ext cx="1562155" cy="193899"/>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1400" dirty="0">
                <a:latin typeface="Arial" pitchFamily="34" charset="0"/>
                <a:cs typeface="Arial" pitchFamily="34" charset="0"/>
              </a:rPr>
              <a:t>Error Accumulation</a:t>
            </a:r>
            <a:endParaRPr lang="zh-CN" altLang="en-US" sz="1400" dirty="0">
              <a:latin typeface="Arial" pitchFamily="34" charset="0"/>
              <a:cs typeface="Arial" pitchFamily="34" charset="0"/>
            </a:endParaRPr>
          </a:p>
        </p:txBody>
      </p:sp>
      <p:sp>
        <p:nvSpPr>
          <p:cNvPr id="29" name="右大括号 28">
            <a:extLst>
              <a:ext uri="{FF2B5EF4-FFF2-40B4-BE49-F238E27FC236}">
                <a16:creationId xmlns:a16="http://schemas.microsoft.com/office/drawing/2014/main" id="{C3BE5C28-57BA-4406-AB2B-6003BFCA7AAB}"/>
              </a:ext>
            </a:extLst>
          </p:cNvPr>
          <p:cNvSpPr/>
          <p:nvPr/>
        </p:nvSpPr>
        <p:spPr>
          <a:xfrm>
            <a:off x="7654651" y="2238030"/>
            <a:ext cx="468053" cy="2157357"/>
          </a:xfrm>
          <a:prstGeom prst="rightBrac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Tree>
    <p:extLst>
      <p:ext uri="{BB962C8B-B14F-4D97-AF65-F5344CB8AC3E}">
        <p14:creationId xmlns:p14="http://schemas.microsoft.com/office/powerpoint/2010/main" val="155825042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4.2 Division of training set and test set</a:t>
            </a:r>
            <a:endParaRPr lang="en-US" dirty="0"/>
          </a:p>
        </p:txBody>
      </p:sp>
      <p:sp>
        <p:nvSpPr>
          <p:cNvPr id="3" name="Text Placeholder 5"/>
          <p:cNvSpPr txBox="1">
            <a:spLocks/>
          </p:cNvSpPr>
          <p:nvPr/>
        </p:nvSpPr>
        <p:spPr>
          <a:xfrm>
            <a:off x="264841" y="1160463"/>
            <a:ext cx="9223869" cy="1990411"/>
          </a:xfrm>
          <a:prstGeom prst="rect">
            <a:avLst/>
          </a:prstGeom>
        </p:spPr>
        <p:txBody>
          <a:bodyPr/>
          <a:lstStyle>
            <a:lvl1pPr marL="188568" indent="-188568" algn="l" defTabSz="957925" rtl="0" eaLnBrk="1" latinLnBrk="0" hangingPunct="1">
              <a:lnSpc>
                <a:spcPct val="90000"/>
              </a:lnSpc>
              <a:spcBef>
                <a:spcPts val="1467"/>
              </a:spcBef>
              <a:buClr>
                <a:schemeClr val="bg2"/>
              </a:buClr>
              <a:buSzPct val="100000"/>
              <a:buFont typeface="Arial" pitchFamily="34" charset="0"/>
              <a:buChar char="■"/>
              <a:defRPr sz="1700" kern="1200">
                <a:solidFill>
                  <a:schemeClr val="tx1"/>
                </a:solidFill>
                <a:latin typeface="Palatino Linotype" panose="02040502050505030304" pitchFamily="18" charset="0"/>
                <a:ea typeface="+mn-ea"/>
                <a:cs typeface="Arial" pitchFamily="34" charset="0"/>
              </a:defRPr>
            </a:lvl1pPr>
            <a:lvl2pPr marL="325695" indent="-134110" algn="l" defTabSz="957925" rtl="0" eaLnBrk="1" latinLnBrk="0" hangingPunct="1">
              <a:lnSpc>
                <a:spcPct val="90000"/>
              </a:lnSpc>
              <a:spcBef>
                <a:spcPts val="943"/>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2pPr>
            <a:lvl3pPr marL="512905" indent="-188568" algn="l" defTabSz="957925" rtl="0" eaLnBrk="1" latinLnBrk="0" hangingPunct="1">
              <a:lnSpc>
                <a:spcPct val="90000"/>
              </a:lnSpc>
              <a:spcBef>
                <a:spcPts val="629"/>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3pPr>
            <a:lvl4pPr marL="663759" indent="-143689" algn="l" defTabSz="957925" rtl="0" eaLnBrk="1" latinLnBrk="0" hangingPunct="1">
              <a:lnSpc>
                <a:spcPct val="90000"/>
              </a:lnSpc>
              <a:spcBef>
                <a:spcPts val="210"/>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4pPr>
            <a:lvl5pPr marL="807071" indent="-143312" algn="l" defTabSz="957925" rtl="0" eaLnBrk="1" latinLnBrk="0" hangingPunct="1">
              <a:lnSpc>
                <a:spcPct val="90000"/>
              </a:lnSpc>
              <a:spcBef>
                <a:spcPts val="105"/>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5pPr>
            <a:lvl6pPr marL="2634295"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3258"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2220"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1183"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r>
              <a:rPr lang="en-US" altLang="zh-CN" sz="1600" b="1" dirty="0"/>
              <a:t>August: </a:t>
            </a:r>
            <a:r>
              <a:rPr lang="en-US" altLang="zh-CN" sz="1600" dirty="0"/>
              <a:t>No holiday, features are useless.</a:t>
            </a:r>
          </a:p>
          <a:p>
            <a:r>
              <a:rPr lang="en-US" sz="1600" b="1" dirty="0"/>
              <a:t>April: </a:t>
            </a:r>
            <a:r>
              <a:rPr lang="en-US" sz="1600" dirty="0"/>
              <a:t>Most similar to September.</a:t>
            </a:r>
          </a:p>
        </p:txBody>
      </p:sp>
      <p:pic>
        <p:nvPicPr>
          <p:cNvPr id="27" name="图片 26">
            <a:extLst>
              <a:ext uri="{FF2B5EF4-FFF2-40B4-BE49-F238E27FC236}">
                <a16:creationId xmlns:a16="http://schemas.microsoft.com/office/drawing/2014/main" id="{D4775909-4286-4E22-8EE9-6D366205A35C}"/>
              </a:ext>
            </a:extLst>
          </p:cNvPr>
          <p:cNvPicPr/>
          <p:nvPr/>
        </p:nvPicPr>
        <p:blipFill>
          <a:blip r:embed="rId2">
            <a:extLst>
              <a:ext uri="{28A0092B-C50C-407E-A947-70E740481C1C}">
                <a14:useLocalDpi xmlns:a14="http://schemas.microsoft.com/office/drawing/2010/main" val="0"/>
              </a:ext>
            </a:extLst>
          </a:blip>
          <a:stretch>
            <a:fillRect/>
          </a:stretch>
        </p:blipFill>
        <p:spPr>
          <a:xfrm>
            <a:off x="5302666" y="2088597"/>
            <a:ext cx="3240000" cy="2160000"/>
          </a:xfrm>
          <a:prstGeom prst="rect">
            <a:avLst/>
          </a:prstGeom>
        </p:spPr>
      </p:pic>
      <p:pic>
        <p:nvPicPr>
          <p:cNvPr id="28" name="图片 27">
            <a:extLst>
              <a:ext uri="{FF2B5EF4-FFF2-40B4-BE49-F238E27FC236}">
                <a16:creationId xmlns:a16="http://schemas.microsoft.com/office/drawing/2014/main" id="{B3743AC4-83DD-4282-8DC3-9E2043BF7245}"/>
              </a:ext>
            </a:extLst>
          </p:cNvPr>
          <p:cNvPicPr/>
          <p:nvPr/>
        </p:nvPicPr>
        <p:blipFill>
          <a:blip r:embed="rId3">
            <a:extLst>
              <a:ext uri="{28A0092B-C50C-407E-A947-70E740481C1C}">
                <a14:useLocalDpi xmlns:a14="http://schemas.microsoft.com/office/drawing/2010/main" val="0"/>
              </a:ext>
            </a:extLst>
          </a:blip>
          <a:stretch>
            <a:fillRect/>
          </a:stretch>
        </p:blipFill>
        <p:spPr>
          <a:xfrm>
            <a:off x="1297194" y="2094768"/>
            <a:ext cx="3240000" cy="2160000"/>
          </a:xfrm>
          <a:prstGeom prst="rect">
            <a:avLst/>
          </a:prstGeom>
        </p:spPr>
      </p:pic>
      <p:pic>
        <p:nvPicPr>
          <p:cNvPr id="29" name="图片 28">
            <a:extLst>
              <a:ext uri="{FF2B5EF4-FFF2-40B4-BE49-F238E27FC236}">
                <a16:creationId xmlns:a16="http://schemas.microsoft.com/office/drawing/2014/main" id="{84EA7ACD-F432-470A-BCA5-0D25CFD26B7C}"/>
              </a:ext>
            </a:extLst>
          </p:cNvPr>
          <p:cNvPicPr/>
          <p:nvPr/>
        </p:nvPicPr>
        <p:blipFill>
          <a:blip r:embed="rId4">
            <a:extLst>
              <a:ext uri="{28A0092B-C50C-407E-A947-70E740481C1C}">
                <a14:useLocalDpi xmlns:a14="http://schemas.microsoft.com/office/drawing/2010/main" val="0"/>
              </a:ext>
            </a:extLst>
          </a:blip>
          <a:stretch>
            <a:fillRect/>
          </a:stretch>
        </p:blipFill>
        <p:spPr>
          <a:xfrm>
            <a:off x="3328895" y="4437216"/>
            <a:ext cx="3240000" cy="2160000"/>
          </a:xfrm>
          <a:prstGeom prst="rect">
            <a:avLst/>
          </a:prstGeom>
        </p:spPr>
      </p:pic>
    </p:spTree>
    <p:extLst>
      <p:ext uri="{BB962C8B-B14F-4D97-AF65-F5344CB8AC3E}">
        <p14:creationId xmlns:p14="http://schemas.microsoft.com/office/powerpoint/2010/main" val="309637396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4.3 Self constructed scoring model</a:t>
            </a:r>
            <a:endParaRPr lang="en-US" dirty="0"/>
          </a:p>
        </p:txBody>
      </p:sp>
      <mc:AlternateContent xmlns:mc="http://schemas.openxmlformats.org/markup-compatibility/2006" xmlns:a14="http://schemas.microsoft.com/office/drawing/2010/main">
        <mc:Choice Requires="a14">
          <p:sp>
            <p:nvSpPr>
              <p:cNvPr id="3" name="Text Placeholder 5"/>
              <p:cNvSpPr txBox="1">
                <a:spLocks/>
              </p:cNvSpPr>
              <p:nvPr/>
            </p:nvSpPr>
            <p:spPr>
              <a:xfrm>
                <a:off x="264841" y="1160464"/>
                <a:ext cx="9223869" cy="2917402"/>
              </a:xfrm>
              <a:prstGeom prst="rect">
                <a:avLst/>
              </a:prstGeom>
            </p:spPr>
            <p:txBody>
              <a:bodyPr/>
              <a:lstStyle>
                <a:lvl1pPr marL="188568" indent="-188568" algn="l" defTabSz="957925" rtl="0" eaLnBrk="1" latinLnBrk="0" hangingPunct="1">
                  <a:lnSpc>
                    <a:spcPct val="90000"/>
                  </a:lnSpc>
                  <a:spcBef>
                    <a:spcPts val="1467"/>
                  </a:spcBef>
                  <a:buClr>
                    <a:schemeClr val="bg2"/>
                  </a:buClr>
                  <a:buSzPct val="100000"/>
                  <a:buFont typeface="Arial" pitchFamily="34" charset="0"/>
                  <a:buChar char="■"/>
                  <a:defRPr sz="1700" kern="1200">
                    <a:solidFill>
                      <a:schemeClr val="tx1"/>
                    </a:solidFill>
                    <a:latin typeface="Palatino Linotype" panose="02040502050505030304" pitchFamily="18" charset="0"/>
                    <a:ea typeface="+mn-ea"/>
                    <a:cs typeface="Arial" pitchFamily="34" charset="0"/>
                  </a:defRPr>
                </a:lvl1pPr>
                <a:lvl2pPr marL="325695" indent="-134110" algn="l" defTabSz="957925" rtl="0" eaLnBrk="1" latinLnBrk="0" hangingPunct="1">
                  <a:lnSpc>
                    <a:spcPct val="90000"/>
                  </a:lnSpc>
                  <a:spcBef>
                    <a:spcPts val="943"/>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2pPr>
                <a:lvl3pPr marL="512905" indent="-188568" algn="l" defTabSz="957925" rtl="0" eaLnBrk="1" latinLnBrk="0" hangingPunct="1">
                  <a:lnSpc>
                    <a:spcPct val="90000"/>
                  </a:lnSpc>
                  <a:spcBef>
                    <a:spcPts val="629"/>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3pPr>
                <a:lvl4pPr marL="663759" indent="-143689" algn="l" defTabSz="957925" rtl="0" eaLnBrk="1" latinLnBrk="0" hangingPunct="1">
                  <a:lnSpc>
                    <a:spcPct val="90000"/>
                  </a:lnSpc>
                  <a:spcBef>
                    <a:spcPts val="210"/>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4pPr>
                <a:lvl5pPr marL="807071" indent="-143312" algn="l" defTabSz="957925" rtl="0" eaLnBrk="1" latinLnBrk="0" hangingPunct="1">
                  <a:lnSpc>
                    <a:spcPct val="90000"/>
                  </a:lnSpc>
                  <a:spcBef>
                    <a:spcPts val="105"/>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5pPr>
                <a:lvl6pPr marL="2634295"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3258"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2220"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1183"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r>
                  <a:rPr lang="en-US" altLang="zh-CN" dirty="0" err="1"/>
                  <a:t>Purchase</a:t>
                </a:r>
                <a:r>
                  <a:rPr lang="en-US" altLang="zh-CN" baseline="-25000" dirty="0" err="1"/>
                  <a:t>i</a:t>
                </a:r>
                <a:r>
                  <a:rPr lang="en-US" altLang="zh-CN" baseline="-25000" dirty="0"/>
                  <a:t> </a:t>
                </a:r>
                <a:r>
                  <a:rPr lang="en-US" altLang="zh-CN" dirty="0"/>
                  <a:t>= |Z</a:t>
                </a:r>
                <a:r>
                  <a:rPr lang="en-US" altLang="zh-CN" baseline="-25000" dirty="0"/>
                  <a:t>i </a:t>
                </a:r>
                <a:r>
                  <a:rPr lang="en-US" altLang="zh-CN" dirty="0"/>
                  <a:t>- </a:t>
                </a:r>
                <a14:m>
                  <m:oMath xmlns:m="http://schemas.openxmlformats.org/officeDocument/2006/math">
                    <m:acc>
                      <m:accPr>
                        <m:chr m:val="̂"/>
                        <m:ctrlPr>
                          <a:rPr lang="zh-CN" altLang="zh-CN" i="1">
                            <a:latin typeface="Cambria Math" panose="02040503050406030204" pitchFamily="18" charset="0"/>
                          </a:rPr>
                        </m:ctrlPr>
                      </m:accPr>
                      <m:e>
                        <m:r>
                          <a:rPr lang="en-US" altLang="zh-CN" i="1">
                            <a:latin typeface="Cambria Math" panose="02040503050406030204" pitchFamily="18" charset="0"/>
                          </a:rPr>
                          <m:t>𝑍𝑖</m:t>
                        </m:r>
                      </m:e>
                    </m:acc>
                  </m:oMath>
                </a14:m>
                <a:r>
                  <a:rPr lang="en-US" altLang="zh-CN" dirty="0"/>
                  <a:t>|/Z</a:t>
                </a:r>
                <a:r>
                  <a:rPr lang="en-US" altLang="zh-CN" baseline="-25000" dirty="0"/>
                  <a:t>i</a:t>
                </a:r>
                <a:endParaRPr lang="zh-CN" altLang="zh-CN" dirty="0"/>
              </a:p>
              <a:p>
                <a:r>
                  <a:rPr lang="en-US" altLang="zh-CN" dirty="0" err="1"/>
                  <a:t>Redeem</a:t>
                </a:r>
                <a:r>
                  <a:rPr lang="en-US" altLang="zh-CN" baseline="-25000" dirty="0" err="1"/>
                  <a:t>i</a:t>
                </a:r>
                <a:r>
                  <a:rPr lang="en-US" altLang="zh-CN" baseline="-25000" dirty="0"/>
                  <a:t> </a:t>
                </a:r>
                <a:r>
                  <a:rPr lang="en-US" altLang="zh-CN" dirty="0"/>
                  <a:t>= |Z</a:t>
                </a:r>
                <a:r>
                  <a:rPr lang="en-US" altLang="zh-CN" baseline="-25000" dirty="0"/>
                  <a:t>i</a:t>
                </a:r>
                <a:r>
                  <a:rPr lang="en-US" altLang="zh-CN" dirty="0"/>
                  <a:t> - </a:t>
                </a:r>
                <a14:m>
                  <m:oMath xmlns:m="http://schemas.openxmlformats.org/officeDocument/2006/math">
                    <m:acc>
                      <m:accPr>
                        <m:chr m:val="̂"/>
                        <m:ctrlPr>
                          <a:rPr lang="zh-CN" altLang="zh-CN" i="1">
                            <a:latin typeface="Cambria Math" panose="02040503050406030204" pitchFamily="18" charset="0"/>
                          </a:rPr>
                        </m:ctrlPr>
                      </m:accPr>
                      <m:e>
                        <m:r>
                          <a:rPr lang="en-US" altLang="zh-CN" i="1">
                            <a:latin typeface="Cambria Math" panose="02040503050406030204" pitchFamily="18" charset="0"/>
                          </a:rPr>
                          <m:t>𝑍𝑖</m:t>
                        </m:r>
                      </m:e>
                    </m:acc>
                  </m:oMath>
                </a14:m>
                <a:r>
                  <a:rPr lang="en-US" altLang="zh-CN" dirty="0"/>
                  <a:t>|/Z</a:t>
                </a:r>
                <a:r>
                  <a:rPr lang="en-US" altLang="zh-CN" baseline="-25000" dirty="0"/>
                  <a:t>i</a:t>
                </a:r>
              </a:p>
              <a:p>
                <a:r>
                  <a:rPr lang="en-US" altLang="zh-CN" dirty="0"/>
                  <a:t>When the purchase error on day I is 0, the score on that day is 10 points; when the purchase error is more than 0.3, the score is 0.</a:t>
                </a:r>
              </a:p>
              <a:p>
                <a:r>
                  <a:rPr lang="en-US" altLang="zh-CN" dirty="0"/>
                  <a:t>Total points = purchase forecast score * 45% + redemption forecast score * 55%.</a:t>
                </a:r>
              </a:p>
              <a:p>
                <a:r>
                  <a:rPr lang="en-US" altLang="zh-CN" dirty="0"/>
                  <a:t>Calculation formula for </a:t>
                </a:r>
                <a:r>
                  <a:rPr lang="en-US" altLang="zh-CN" sz="1600" dirty="0"/>
                  <a:t>forecast score is not given.</a:t>
                </a:r>
              </a:p>
              <a:p>
                <a:r>
                  <a:rPr lang="en-US" sz="1600" dirty="0"/>
                  <a:t>Self build:</a:t>
                </a:r>
              </a:p>
            </p:txBody>
          </p:sp>
        </mc:Choice>
        <mc:Fallback xmlns="">
          <p:sp>
            <p:nvSpPr>
              <p:cNvPr id="3" name="Text Placeholder 5"/>
              <p:cNvSpPr txBox="1">
                <a:spLocks noRot="1" noChangeAspect="1" noMove="1" noResize="1" noEditPoints="1" noAdjustHandles="1" noChangeArrowheads="1" noChangeShapeType="1" noTextEdit="1"/>
              </p:cNvSpPr>
              <p:nvPr/>
            </p:nvSpPr>
            <p:spPr>
              <a:xfrm>
                <a:off x="264841" y="1160464"/>
                <a:ext cx="9223869" cy="2917402"/>
              </a:xfrm>
              <a:prstGeom prst="rect">
                <a:avLst/>
              </a:prstGeom>
              <a:blipFill>
                <a:blip r:embed="rId2"/>
                <a:stretch>
                  <a:fillRect l="-330" t="-1253"/>
                </a:stretch>
              </a:blipFill>
            </p:spPr>
            <p:txBody>
              <a:bodyPr/>
              <a:lstStyle/>
              <a:p>
                <a:r>
                  <a:rPr lang="zh-CN" altLang="en-US">
                    <a:noFill/>
                  </a:rPr>
                  <a:t> </a:t>
                </a:r>
              </a:p>
            </p:txBody>
          </p:sp>
        </mc:Fallback>
      </mc:AlternateContent>
      <p:pic>
        <p:nvPicPr>
          <p:cNvPr id="5" name="图片 4">
            <a:extLst>
              <a:ext uri="{FF2B5EF4-FFF2-40B4-BE49-F238E27FC236}">
                <a16:creationId xmlns:a16="http://schemas.microsoft.com/office/drawing/2014/main" id="{641F2189-2270-44BC-BCA3-606E9E217D7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67806" y="3595527"/>
            <a:ext cx="4368799" cy="3132128"/>
          </a:xfrm>
          <a:prstGeom prst="rect">
            <a:avLst/>
          </a:prstGeom>
        </p:spPr>
      </p:pic>
    </p:spTree>
    <p:extLst>
      <p:ext uri="{BB962C8B-B14F-4D97-AF65-F5344CB8AC3E}">
        <p14:creationId xmlns:p14="http://schemas.microsoft.com/office/powerpoint/2010/main" val="159414261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4.4 Prediction – April as test set</a:t>
            </a:r>
            <a:endParaRPr lang="en-US" dirty="0"/>
          </a:p>
        </p:txBody>
      </p:sp>
      <p:graphicFrame>
        <p:nvGraphicFramePr>
          <p:cNvPr id="4" name="表格 3">
            <a:extLst>
              <a:ext uri="{FF2B5EF4-FFF2-40B4-BE49-F238E27FC236}">
                <a16:creationId xmlns:a16="http://schemas.microsoft.com/office/drawing/2014/main" id="{463E36A6-8095-4BB4-8A62-E9D975FEB5EE}"/>
              </a:ext>
            </a:extLst>
          </p:cNvPr>
          <p:cNvGraphicFramePr>
            <a:graphicFrameLocks noGrp="1"/>
          </p:cNvGraphicFramePr>
          <p:nvPr/>
        </p:nvGraphicFramePr>
        <p:xfrm>
          <a:off x="1690533" y="2137681"/>
          <a:ext cx="6516724" cy="3204355"/>
        </p:xfrm>
        <a:graphic>
          <a:graphicData uri="http://schemas.openxmlformats.org/drawingml/2006/table">
            <a:tbl>
              <a:tblPr firstRow="1" bandRow="1">
                <a:tableStyleId>{F5AB1C69-6EDB-4FF4-983F-18BD219EF322}</a:tableStyleId>
              </a:tblPr>
              <a:tblGrid>
                <a:gridCol w="3636404">
                  <a:extLst>
                    <a:ext uri="{9D8B030D-6E8A-4147-A177-3AD203B41FA5}">
                      <a16:colId xmlns:a16="http://schemas.microsoft.com/office/drawing/2014/main" val="933683640"/>
                    </a:ext>
                  </a:extLst>
                </a:gridCol>
                <a:gridCol w="2880320">
                  <a:extLst>
                    <a:ext uri="{9D8B030D-6E8A-4147-A177-3AD203B41FA5}">
                      <a16:colId xmlns:a16="http://schemas.microsoft.com/office/drawing/2014/main" val="1292732918"/>
                    </a:ext>
                  </a:extLst>
                </a:gridCol>
              </a:tblGrid>
              <a:tr h="457765">
                <a:tc>
                  <a:txBody>
                    <a:bodyPr/>
                    <a:lstStyle/>
                    <a:p>
                      <a:pPr algn="ctr"/>
                      <a:r>
                        <a:rPr lang="en-US" altLang="zh-CN" sz="1400" kern="100" dirty="0">
                          <a:effectLst/>
                          <a:latin typeface="等线" panose="02010600030101010101" pitchFamily="2" charset="-122"/>
                          <a:ea typeface="等线" panose="02010600030101010101" pitchFamily="2" charset="-122"/>
                        </a:rPr>
                        <a:t>Model</a:t>
                      </a:r>
                      <a:endParaRPr lang="zh-CN" sz="1400" kern="100" dirty="0">
                        <a:effectLst/>
                        <a:latin typeface="等线" panose="02010600030101010101" pitchFamily="2" charset="-122"/>
                        <a:ea typeface="等线" panose="02010600030101010101" pitchFamily="2" charset="-122"/>
                      </a:endParaRPr>
                    </a:p>
                  </a:txBody>
                  <a:tcPr marL="68580" marR="68580" marT="0" marB="0" anchor="ctr">
                    <a:solidFill>
                      <a:srgbClr val="9B1717"/>
                    </a:solidFill>
                  </a:tcPr>
                </a:tc>
                <a:tc>
                  <a:txBody>
                    <a:bodyPr/>
                    <a:lstStyle/>
                    <a:p>
                      <a:pPr algn="ctr">
                        <a:spcAft>
                          <a:spcPts val="0"/>
                        </a:spcAft>
                      </a:pPr>
                      <a:r>
                        <a:rPr lang="en-US" sz="1400" kern="100" dirty="0">
                          <a:effectLst/>
                        </a:rPr>
                        <a:t>Test Set</a:t>
                      </a:r>
                      <a:endParaRPr lang="zh-CN" sz="14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solidFill>
                      <a:srgbClr val="9B1717"/>
                    </a:solidFill>
                  </a:tcPr>
                </a:tc>
                <a:extLst>
                  <a:ext uri="{0D108BD9-81ED-4DB2-BD59-A6C34878D82A}">
                    <a16:rowId xmlns:a16="http://schemas.microsoft.com/office/drawing/2014/main" val="20177723"/>
                  </a:ext>
                </a:extLst>
              </a:tr>
              <a:tr h="457765">
                <a:tc>
                  <a:txBody>
                    <a:bodyPr/>
                    <a:lstStyle/>
                    <a:p>
                      <a:pPr algn="ctr">
                        <a:spcAft>
                          <a:spcPts val="0"/>
                        </a:spcAft>
                      </a:pPr>
                      <a:r>
                        <a:rPr lang="en-US" sz="1400" b="1" kern="100" dirty="0">
                          <a:effectLst/>
                        </a:rPr>
                        <a:t>Linear Regression</a:t>
                      </a:r>
                      <a:endParaRPr lang="zh-CN" sz="1400" b="1"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en-US" sz="1400" kern="100" dirty="0">
                          <a:effectLst/>
                        </a:rPr>
                        <a:t>160.2887</a:t>
                      </a:r>
                      <a:endParaRPr lang="zh-CN" sz="14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3098920128"/>
                  </a:ext>
                </a:extLst>
              </a:tr>
              <a:tr h="457765">
                <a:tc>
                  <a:txBody>
                    <a:bodyPr/>
                    <a:lstStyle/>
                    <a:p>
                      <a:pPr algn="ctr">
                        <a:spcAft>
                          <a:spcPts val="0"/>
                        </a:spcAft>
                      </a:pPr>
                      <a:r>
                        <a:rPr lang="en-US" sz="1400" b="1" kern="100" dirty="0">
                          <a:effectLst/>
                        </a:rPr>
                        <a:t>Decision Tree</a:t>
                      </a:r>
                      <a:endParaRPr lang="zh-CN" sz="1400" b="1"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en-US" sz="1400" kern="100">
                          <a:effectLst/>
                        </a:rPr>
                        <a:t>179.1604</a:t>
                      </a:r>
                      <a:endParaRPr lang="zh-CN" sz="14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3060573042"/>
                  </a:ext>
                </a:extLst>
              </a:tr>
              <a:tr h="457765">
                <a:tc>
                  <a:txBody>
                    <a:bodyPr/>
                    <a:lstStyle/>
                    <a:p>
                      <a:pPr algn="ctr">
                        <a:spcAft>
                          <a:spcPts val="0"/>
                        </a:spcAft>
                      </a:pPr>
                      <a:r>
                        <a:rPr lang="en-US" sz="1400" b="1" kern="100" dirty="0">
                          <a:effectLst/>
                        </a:rPr>
                        <a:t>Random Forest</a:t>
                      </a:r>
                      <a:endParaRPr lang="zh-CN" sz="1400" b="1"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en-US" sz="1400" kern="100">
                          <a:effectLst/>
                        </a:rPr>
                        <a:t>192.7704</a:t>
                      </a:r>
                      <a:endParaRPr lang="zh-CN" sz="14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3698393746"/>
                  </a:ext>
                </a:extLst>
              </a:tr>
              <a:tr h="457765">
                <a:tc>
                  <a:txBody>
                    <a:bodyPr/>
                    <a:lstStyle/>
                    <a:p>
                      <a:pPr algn="ctr">
                        <a:spcAft>
                          <a:spcPts val="0"/>
                        </a:spcAft>
                      </a:pPr>
                      <a:r>
                        <a:rPr lang="en-US" sz="1400" b="1" kern="100" dirty="0">
                          <a:effectLst/>
                        </a:rPr>
                        <a:t>Gradient Boosting</a:t>
                      </a:r>
                      <a:endParaRPr lang="zh-CN" sz="1400" b="1"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en-US" sz="1400" kern="100" dirty="0">
                          <a:effectLst/>
                        </a:rPr>
                        <a:t>202.6532</a:t>
                      </a:r>
                      <a:endParaRPr lang="zh-CN" sz="14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4047355769"/>
                  </a:ext>
                </a:extLst>
              </a:tr>
              <a:tr h="457765">
                <a:tc>
                  <a:txBody>
                    <a:bodyPr/>
                    <a:lstStyle/>
                    <a:p>
                      <a:pPr algn="ctr">
                        <a:spcAft>
                          <a:spcPts val="0"/>
                        </a:spcAft>
                      </a:pPr>
                      <a:r>
                        <a:rPr lang="en-US" sz="1400" b="1" kern="100" dirty="0">
                          <a:effectLst/>
                        </a:rPr>
                        <a:t>MLP</a:t>
                      </a:r>
                      <a:endParaRPr lang="zh-CN" sz="1400" b="1"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en-US" sz="1400" kern="100">
                          <a:effectLst/>
                        </a:rPr>
                        <a:t>152.5565</a:t>
                      </a:r>
                      <a:endParaRPr lang="zh-CN" sz="14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105415165"/>
                  </a:ext>
                </a:extLst>
              </a:tr>
              <a:tr h="457765">
                <a:tc>
                  <a:txBody>
                    <a:bodyPr/>
                    <a:lstStyle/>
                    <a:p>
                      <a:pPr algn="ctr">
                        <a:spcAft>
                          <a:spcPts val="0"/>
                        </a:spcAft>
                      </a:pPr>
                      <a:r>
                        <a:rPr lang="en-US" sz="1400" b="1" kern="100" dirty="0">
                          <a:effectLst/>
                        </a:rPr>
                        <a:t>XGB</a:t>
                      </a:r>
                      <a:endParaRPr lang="zh-CN" sz="1400" b="1"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en-US" sz="1400" kern="100" dirty="0">
                          <a:effectLst/>
                        </a:rPr>
                        <a:t>200.0075</a:t>
                      </a:r>
                      <a:endParaRPr lang="zh-CN" sz="14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1171819506"/>
                  </a:ext>
                </a:extLst>
              </a:tr>
            </a:tbl>
          </a:graphicData>
        </a:graphic>
      </p:graphicFrame>
    </p:spTree>
    <p:extLst>
      <p:ext uri="{BB962C8B-B14F-4D97-AF65-F5344CB8AC3E}">
        <p14:creationId xmlns:p14="http://schemas.microsoft.com/office/powerpoint/2010/main" val="56186245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4.5 Prediction – April as test set</a:t>
            </a:r>
            <a:endParaRPr lang="en-US" dirty="0"/>
          </a:p>
        </p:txBody>
      </p:sp>
      <p:pic>
        <p:nvPicPr>
          <p:cNvPr id="5" name="图片 4">
            <a:extLst>
              <a:ext uri="{FF2B5EF4-FFF2-40B4-BE49-F238E27FC236}">
                <a16:creationId xmlns:a16="http://schemas.microsoft.com/office/drawing/2014/main" id="{29F9A0A4-A1E9-4E7F-B4F6-8C88B64B55CD}"/>
              </a:ext>
            </a:extLst>
          </p:cNvPr>
          <p:cNvPicPr/>
          <p:nvPr/>
        </p:nvPicPr>
        <p:blipFill>
          <a:blip r:embed="rId2" cstate="print">
            <a:extLst>
              <a:ext uri="{28A0092B-C50C-407E-A947-70E740481C1C}">
                <a14:useLocalDpi xmlns:a14="http://schemas.microsoft.com/office/drawing/2010/main" val="0"/>
              </a:ext>
            </a:extLst>
          </a:blip>
          <a:stretch>
            <a:fillRect/>
          </a:stretch>
        </p:blipFill>
        <p:spPr>
          <a:xfrm>
            <a:off x="1260984" y="1210182"/>
            <a:ext cx="3295650" cy="1450975"/>
          </a:xfrm>
          <a:prstGeom prst="rect">
            <a:avLst/>
          </a:prstGeom>
        </p:spPr>
      </p:pic>
      <p:pic>
        <p:nvPicPr>
          <p:cNvPr id="6" name="图片 5">
            <a:extLst>
              <a:ext uri="{FF2B5EF4-FFF2-40B4-BE49-F238E27FC236}">
                <a16:creationId xmlns:a16="http://schemas.microsoft.com/office/drawing/2014/main" id="{7DDAD589-6C88-4DB3-973A-A441D9376FA6}"/>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5225691" y="1210182"/>
            <a:ext cx="3263900" cy="1458595"/>
          </a:xfrm>
          <a:prstGeom prst="rect">
            <a:avLst/>
          </a:prstGeom>
        </p:spPr>
      </p:pic>
      <p:pic>
        <p:nvPicPr>
          <p:cNvPr id="7" name="图片 6">
            <a:extLst>
              <a:ext uri="{FF2B5EF4-FFF2-40B4-BE49-F238E27FC236}">
                <a16:creationId xmlns:a16="http://schemas.microsoft.com/office/drawing/2014/main" id="{F9AF9F74-78E7-421C-B053-5E35C5A72604}"/>
              </a:ext>
            </a:extLst>
          </p:cNvPr>
          <p:cNvPicPr/>
          <p:nvPr/>
        </p:nvPicPr>
        <p:blipFill>
          <a:blip r:embed="rId4" cstate="print">
            <a:extLst>
              <a:ext uri="{28A0092B-C50C-407E-A947-70E740481C1C}">
                <a14:useLocalDpi xmlns:a14="http://schemas.microsoft.com/office/drawing/2010/main" val="0"/>
              </a:ext>
            </a:extLst>
          </a:blip>
          <a:stretch>
            <a:fillRect/>
          </a:stretch>
        </p:blipFill>
        <p:spPr>
          <a:xfrm>
            <a:off x="1203013" y="3222857"/>
            <a:ext cx="3353435" cy="1460500"/>
          </a:xfrm>
          <a:prstGeom prst="rect">
            <a:avLst/>
          </a:prstGeom>
        </p:spPr>
      </p:pic>
      <p:pic>
        <p:nvPicPr>
          <p:cNvPr id="8" name="图片 7">
            <a:extLst>
              <a:ext uri="{FF2B5EF4-FFF2-40B4-BE49-F238E27FC236}">
                <a16:creationId xmlns:a16="http://schemas.microsoft.com/office/drawing/2014/main" id="{A8D0B7A8-CA24-4C91-9203-7A01768BD388}"/>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5222379" y="3197457"/>
            <a:ext cx="3355975" cy="1485900"/>
          </a:xfrm>
          <a:prstGeom prst="rect">
            <a:avLst/>
          </a:prstGeom>
        </p:spPr>
      </p:pic>
      <p:pic>
        <p:nvPicPr>
          <p:cNvPr id="9" name="图片 8">
            <a:extLst>
              <a:ext uri="{FF2B5EF4-FFF2-40B4-BE49-F238E27FC236}">
                <a16:creationId xmlns:a16="http://schemas.microsoft.com/office/drawing/2014/main" id="{239696E6-1541-4B74-BB75-6DF090D09D47}"/>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1203013" y="5144143"/>
            <a:ext cx="3353435" cy="1450975"/>
          </a:xfrm>
          <a:prstGeom prst="rect">
            <a:avLst/>
          </a:prstGeom>
        </p:spPr>
      </p:pic>
      <p:pic>
        <p:nvPicPr>
          <p:cNvPr id="10" name="图片 9">
            <a:extLst>
              <a:ext uri="{FF2B5EF4-FFF2-40B4-BE49-F238E27FC236}">
                <a16:creationId xmlns:a16="http://schemas.microsoft.com/office/drawing/2014/main" id="{7B998769-0A1A-4826-B871-3271784D4F88}"/>
              </a:ext>
            </a:extLst>
          </p:cNvPr>
          <p:cNvPicPr/>
          <p:nvPr/>
        </p:nvPicPr>
        <p:blipFill>
          <a:blip r:embed="rId7" cstate="print">
            <a:extLst>
              <a:ext uri="{28A0092B-C50C-407E-A947-70E740481C1C}">
                <a14:useLocalDpi xmlns:a14="http://schemas.microsoft.com/office/drawing/2010/main" val="0"/>
              </a:ext>
            </a:extLst>
          </a:blip>
          <a:stretch>
            <a:fillRect/>
          </a:stretch>
        </p:blipFill>
        <p:spPr>
          <a:xfrm>
            <a:off x="5222379" y="5084770"/>
            <a:ext cx="3459696" cy="1569720"/>
          </a:xfrm>
          <a:prstGeom prst="rect">
            <a:avLst/>
          </a:prstGeom>
        </p:spPr>
      </p:pic>
      <p:sp>
        <p:nvSpPr>
          <p:cNvPr id="3" name="矩形 2">
            <a:extLst>
              <a:ext uri="{FF2B5EF4-FFF2-40B4-BE49-F238E27FC236}">
                <a16:creationId xmlns:a16="http://schemas.microsoft.com/office/drawing/2014/main" id="{1DAF5A61-2487-43FC-B97C-A9175CA41F71}"/>
              </a:ext>
            </a:extLst>
          </p:cNvPr>
          <p:cNvSpPr/>
          <p:nvPr/>
        </p:nvSpPr>
        <p:spPr>
          <a:xfrm>
            <a:off x="4034247" y="909514"/>
            <a:ext cx="2032929" cy="369332"/>
          </a:xfrm>
          <a:prstGeom prst="rect">
            <a:avLst/>
          </a:prstGeom>
        </p:spPr>
        <p:txBody>
          <a:bodyPr wrap="none">
            <a:spAutoFit/>
          </a:bodyPr>
          <a:lstStyle/>
          <a:p>
            <a:pPr algn="just">
              <a:spcAft>
                <a:spcPts val="0"/>
              </a:spcAft>
            </a:pPr>
            <a:r>
              <a:rPr lang="en-US" altLang="zh-CN" sz="1800" b="1" kern="100" dirty="0">
                <a:latin typeface="等线" panose="02010600030101010101" pitchFamily="2" charset="-122"/>
                <a:ea typeface="等线" panose="02010600030101010101" pitchFamily="2" charset="-122"/>
                <a:cs typeface="Times New Roman" panose="02020603050405020304" pitchFamily="18" charset="0"/>
              </a:rPr>
              <a:t>Linear Regression</a:t>
            </a:r>
            <a:endParaRPr lang="zh-CN" altLang="zh-CN" sz="1800" b="1" kern="100" dirty="0">
              <a:effectLst/>
              <a:latin typeface="等线" panose="02010600030101010101" pitchFamily="2" charset="-122"/>
              <a:ea typeface="等线" panose="02010600030101010101" pitchFamily="2" charset="-122"/>
              <a:cs typeface="Times New Roman" panose="02020603050405020304" pitchFamily="18" charset="0"/>
            </a:endParaRPr>
          </a:p>
        </p:txBody>
      </p:sp>
      <p:sp>
        <p:nvSpPr>
          <p:cNvPr id="11" name="矩形 10">
            <a:extLst>
              <a:ext uri="{FF2B5EF4-FFF2-40B4-BE49-F238E27FC236}">
                <a16:creationId xmlns:a16="http://schemas.microsoft.com/office/drawing/2014/main" id="{5C95977F-B30D-4B15-852A-14DFC86B662B}"/>
              </a:ext>
            </a:extLst>
          </p:cNvPr>
          <p:cNvSpPr/>
          <p:nvPr/>
        </p:nvSpPr>
        <p:spPr>
          <a:xfrm>
            <a:off x="4152155" y="2961742"/>
            <a:ext cx="1598515" cy="369332"/>
          </a:xfrm>
          <a:prstGeom prst="rect">
            <a:avLst/>
          </a:prstGeom>
        </p:spPr>
        <p:txBody>
          <a:bodyPr wrap="none">
            <a:spAutoFit/>
          </a:bodyPr>
          <a:lstStyle/>
          <a:p>
            <a:pPr algn="just">
              <a:spcAft>
                <a:spcPts val="0"/>
              </a:spcAft>
            </a:pPr>
            <a:r>
              <a:rPr lang="en-US" altLang="zh-CN" sz="1800" b="1" kern="100" dirty="0">
                <a:latin typeface="等线" panose="02010600030101010101" pitchFamily="2" charset="-122"/>
                <a:ea typeface="等线" panose="02010600030101010101" pitchFamily="2" charset="-122"/>
                <a:cs typeface="Times New Roman" panose="02020603050405020304" pitchFamily="18" charset="0"/>
              </a:rPr>
              <a:t>Decision Tree</a:t>
            </a:r>
            <a:endParaRPr lang="zh-CN" altLang="zh-CN" sz="1800" b="1" kern="100" dirty="0">
              <a:effectLst/>
              <a:latin typeface="等线" panose="02010600030101010101" pitchFamily="2" charset="-122"/>
              <a:ea typeface="等线" panose="02010600030101010101" pitchFamily="2" charset="-122"/>
              <a:cs typeface="Times New Roman" panose="02020603050405020304" pitchFamily="18" charset="0"/>
            </a:endParaRPr>
          </a:p>
        </p:txBody>
      </p:sp>
      <p:sp>
        <p:nvSpPr>
          <p:cNvPr id="12" name="矩形 11">
            <a:extLst>
              <a:ext uri="{FF2B5EF4-FFF2-40B4-BE49-F238E27FC236}">
                <a16:creationId xmlns:a16="http://schemas.microsoft.com/office/drawing/2014/main" id="{4989470E-C4EA-4DD8-B2CE-3CBEB536D447}"/>
              </a:ext>
            </a:extLst>
          </p:cNvPr>
          <p:cNvSpPr/>
          <p:nvPr/>
        </p:nvSpPr>
        <p:spPr>
          <a:xfrm>
            <a:off x="4061472" y="4836924"/>
            <a:ext cx="1774845" cy="369332"/>
          </a:xfrm>
          <a:prstGeom prst="rect">
            <a:avLst/>
          </a:prstGeom>
        </p:spPr>
        <p:txBody>
          <a:bodyPr wrap="none">
            <a:spAutoFit/>
          </a:bodyPr>
          <a:lstStyle/>
          <a:p>
            <a:pPr algn="just">
              <a:spcAft>
                <a:spcPts val="0"/>
              </a:spcAft>
            </a:pPr>
            <a:r>
              <a:rPr lang="en-US" altLang="zh-CN" sz="1800" b="1" kern="100" dirty="0">
                <a:latin typeface="等线" panose="02010600030101010101" pitchFamily="2" charset="-122"/>
                <a:ea typeface="等线" panose="02010600030101010101" pitchFamily="2" charset="-122"/>
                <a:cs typeface="Times New Roman" panose="02020603050405020304" pitchFamily="18" charset="0"/>
              </a:rPr>
              <a:t>Random Forest</a:t>
            </a:r>
            <a:endParaRPr lang="zh-CN" altLang="zh-CN" sz="1800" b="1" kern="100" dirty="0">
              <a:effectLst/>
              <a:latin typeface="等线" panose="02010600030101010101" pitchFamily="2" charset="-122"/>
              <a:ea typeface="等线"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35199496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6">
            <a:extLst>
              <a:ext uri="{FF2B5EF4-FFF2-40B4-BE49-F238E27FC236}">
                <a16:creationId xmlns:a16="http://schemas.microsoft.com/office/drawing/2014/main" id="{F54728D0-9598-4834-A931-78EA4861A93B}"/>
              </a:ext>
            </a:extLst>
          </p:cNvPr>
          <p:cNvSpPr>
            <a:spLocks noGrp="1"/>
          </p:cNvSpPr>
          <p:nvPr>
            <p:ph type="title"/>
          </p:nvPr>
        </p:nvSpPr>
        <p:spPr/>
        <p:txBody>
          <a:bodyPr/>
          <a:lstStyle/>
          <a:p>
            <a:r>
              <a:rPr lang="en-US" altLang="zh-CN" dirty="0"/>
              <a:t>1.1 What is </a:t>
            </a:r>
            <a:r>
              <a:rPr lang="en-US" altLang="zh-CN" dirty="0" err="1"/>
              <a:t>Yu’e</a:t>
            </a:r>
            <a:r>
              <a:rPr lang="en-US" altLang="zh-CN" dirty="0"/>
              <a:t> Bao?</a:t>
            </a:r>
            <a:endParaRPr lang="zh-CN" altLang="en-US" dirty="0"/>
          </a:p>
        </p:txBody>
      </p:sp>
      <p:sp>
        <p:nvSpPr>
          <p:cNvPr id="8" name="文本框 7">
            <a:extLst>
              <a:ext uri="{FF2B5EF4-FFF2-40B4-BE49-F238E27FC236}">
                <a16:creationId xmlns:a16="http://schemas.microsoft.com/office/drawing/2014/main" id="{AD303E79-5063-4ECC-8231-71FCCAA2D4F2}"/>
              </a:ext>
            </a:extLst>
          </p:cNvPr>
          <p:cNvSpPr txBox="1"/>
          <p:nvPr/>
        </p:nvSpPr>
        <p:spPr>
          <a:xfrm>
            <a:off x="414126" y="982713"/>
            <a:ext cx="8936765" cy="2523768"/>
          </a:xfrm>
          <a:prstGeom prst="rect">
            <a:avLst/>
          </a:prstGeom>
          <a:noFill/>
          <a:ln w="6350" cap="flat">
            <a:noFill/>
            <a:miter lim="800000"/>
          </a:ln>
        </p:spPr>
        <p:txBody>
          <a:bodyPr wrap="square" lIns="0" tIns="0" rIns="0" bIns="0" rtlCol="0" anchor="t" anchorCtr="0">
            <a:spAutoFit/>
          </a:bodyPr>
          <a:lstStyle/>
          <a:p>
            <a:pPr marL="342900" indent="-342900">
              <a:spcBef>
                <a:spcPts val="300"/>
              </a:spcBef>
              <a:buClr>
                <a:schemeClr val="bg2"/>
              </a:buClr>
              <a:buFont typeface="Wingdings" panose="05000000000000000000" pitchFamily="2" charset="2"/>
              <a:buChar char="p"/>
            </a:pPr>
            <a:r>
              <a:rPr lang="en-US" altLang="zh-CN" sz="1600" dirty="0" err="1">
                <a:latin typeface="Arial" pitchFamily="34" charset="0"/>
                <a:cs typeface="Arial" pitchFamily="34" charset="0"/>
              </a:rPr>
              <a:t>Yu’e</a:t>
            </a:r>
            <a:r>
              <a:rPr lang="en-US" altLang="zh-CN" sz="1600" dirty="0">
                <a:latin typeface="Arial" pitchFamily="34" charset="0"/>
                <a:cs typeface="Arial" pitchFamily="34" charset="0"/>
              </a:rPr>
              <a:t> Bao,</a:t>
            </a:r>
            <a:r>
              <a:rPr lang="zh-CN" altLang="en-US" sz="1600" dirty="0">
                <a:latin typeface="Arial" pitchFamily="34" charset="0"/>
                <a:cs typeface="Arial" pitchFamily="34" charset="0"/>
              </a:rPr>
              <a:t> </a:t>
            </a:r>
            <a:r>
              <a:rPr lang="en-US" altLang="zh-CN" sz="1600" dirty="0">
                <a:latin typeface="Arial" pitchFamily="34" charset="0"/>
                <a:cs typeface="Arial" pitchFamily="34" charset="0"/>
              </a:rPr>
              <a:t>launched by </a:t>
            </a:r>
            <a:r>
              <a:rPr lang="en-US" altLang="zh-CN" sz="1600" dirty="0" err="1">
                <a:latin typeface="Arial" pitchFamily="34" charset="0"/>
                <a:cs typeface="Arial" pitchFamily="34" charset="0"/>
              </a:rPr>
              <a:t>AntFin</a:t>
            </a:r>
            <a:r>
              <a:rPr lang="en-US" altLang="zh-CN" sz="1600" dirty="0">
                <a:latin typeface="Arial" pitchFamily="34" charset="0"/>
                <a:cs typeface="Arial" pitchFamily="34" charset="0"/>
              </a:rPr>
              <a:t> in 2013, a monetary market fund invested in short-term securities</a:t>
            </a:r>
          </a:p>
          <a:p>
            <a:pPr marL="821863" lvl="1" indent="-342900">
              <a:spcBef>
                <a:spcPts val="300"/>
              </a:spcBef>
              <a:buClr>
                <a:schemeClr val="bg2"/>
              </a:buClr>
              <a:buFont typeface="Wingdings" panose="05000000000000000000" pitchFamily="2" charset="2"/>
              <a:buChar char="ü"/>
            </a:pPr>
            <a:r>
              <a:rPr lang="en-US" altLang="zh-CN" sz="1600" dirty="0">
                <a:latin typeface="Arial" pitchFamily="34" charset="0"/>
                <a:cs typeface="Arial" pitchFamily="34" charset="0"/>
              </a:rPr>
              <a:t>Underlying: Government bonds, central bank bills, high rating corporate bonds</a:t>
            </a:r>
          </a:p>
          <a:p>
            <a:pPr marL="821863" lvl="1" indent="-342900">
              <a:spcBef>
                <a:spcPts val="300"/>
              </a:spcBef>
              <a:buClr>
                <a:schemeClr val="bg2"/>
              </a:buClr>
              <a:buFont typeface="Wingdings" panose="05000000000000000000" pitchFamily="2" charset="2"/>
              <a:buChar char="ü"/>
            </a:pPr>
            <a:r>
              <a:rPr lang="en-US" altLang="zh-CN" sz="1600" dirty="0">
                <a:latin typeface="Arial" pitchFamily="34" charset="0"/>
                <a:cs typeface="Arial" pitchFamily="34" charset="0"/>
              </a:rPr>
              <a:t>Avg. maturity: 120 days</a:t>
            </a:r>
          </a:p>
          <a:p>
            <a:pPr marL="342900" indent="-342900">
              <a:spcBef>
                <a:spcPts val="300"/>
              </a:spcBef>
              <a:buClr>
                <a:schemeClr val="bg2"/>
              </a:buClr>
              <a:buFont typeface="Wingdings" panose="05000000000000000000" pitchFamily="2" charset="2"/>
              <a:buChar char="p"/>
            </a:pPr>
            <a:r>
              <a:rPr lang="en-US" altLang="zh-CN" sz="1600" b="1" dirty="0">
                <a:solidFill>
                  <a:srgbClr val="9B1717"/>
                </a:solidFill>
                <a:latin typeface="Arial" pitchFamily="34" charset="0"/>
                <a:cs typeface="Arial" pitchFamily="34" charset="0"/>
              </a:rPr>
              <a:t>Advantage: </a:t>
            </a:r>
            <a:r>
              <a:rPr lang="en-US" altLang="zh-CN" sz="1600" dirty="0">
                <a:latin typeface="Arial" pitchFamily="34" charset="0"/>
                <a:cs typeface="Arial" pitchFamily="34" charset="0"/>
              </a:rPr>
              <a:t>High security, high liquidity, stable returns -&gt; "quasi-deposit“</a:t>
            </a:r>
          </a:p>
          <a:p>
            <a:pPr marL="342900" indent="-342900">
              <a:spcBef>
                <a:spcPts val="300"/>
              </a:spcBef>
              <a:buClr>
                <a:schemeClr val="bg2"/>
              </a:buClr>
              <a:buFont typeface="Wingdings" panose="05000000000000000000" pitchFamily="2" charset="2"/>
              <a:buChar char="p"/>
            </a:pPr>
            <a:r>
              <a:rPr lang="en-US" altLang="zh-CN" sz="1600" dirty="0" err="1">
                <a:latin typeface="Arial" pitchFamily="34" charset="0"/>
                <a:cs typeface="Arial" pitchFamily="34" charset="0"/>
              </a:rPr>
              <a:t>Yu’e</a:t>
            </a:r>
            <a:r>
              <a:rPr lang="en-US" altLang="zh-CN" sz="1600" dirty="0">
                <a:latin typeface="Arial" pitchFamily="34" charset="0"/>
                <a:cs typeface="Arial" pitchFamily="34" charset="0"/>
              </a:rPr>
              <a:t> Bao is now a </a:t>
            </a:r>
            <a:r>
              <a:rPr lang="en-US" altLang="zh-CN" sz="1600" b="1" dirty="0">
                <a:solidFill>
                  <a:srgbClr val="9B1717"/>
                </a:solidFill>
                <a:latin typeface="Arial" pitchFamily="34" charset="0"/>
                <a:cs typeface="Arial" pitchFamily="34" charset="0"/>
              </a:rPr>
              <a:t>MMF platform</a:t>
            </a:r>
          </a:p>
          <a:p>
            <a:pPr marL="821863" lvl="1" indent="-342900">
              <a:spcBef>
                <a:spcPts val="300"/>
              </a:spcBef>
              <a:buClr>
                <a:schemeClr val="bg2"/>
              </a:buClr>
              <a:buFont typeface="Wingdings" panose="05000000000000000000" pitchFamily="2" charset="2"/>
              <a:buChar char="ü"/>
            </a:pPr>
            <a:r>
              <a:rPr lang="en-US" altLang="zh-CN" sz="1600" dirty="0">
                <a:latin typeface="Arial" pitchFamily="34" charset="0"/>
                <a:cs typeface="Arial" pitchFamily="34" charset="0"/>
              </a:rPr>
              <a:t>Only docked with </a:t>
            </a:r>
            <a:r>
              <a:rPr lang="en-US" altLang="zh-CN" sz="1600" i="1" dirty="0" err="1">
                <a:solidFill>
                  <a:srgbClr val="9B1717"/>
                </a:solidFill>
                <a:latin typeface="Arial" pitchFamily="34" charset="0"/>
                <a:cs typeface="Arial" pitchFamily="34" charset="0"/>
              </a:rPr>
              <a:t>Tianhong</a:t>
            </a:r>
            <a:r>
              <a:rPr lang="en-US" altLang="zh-CN" sz="1600" i="1" dirty="0">
                <a:solidFill>
                  <a:srgbClr val="9B1717"/>
                </a:solidFill>
                <a:latin typeface="Arial" pitchFamily="34" charset="0"/>
                <a:cs typeface="Arial" pitchFamily="34" charset="0"/>
              </a:rPr>
              <a:t> </a:t>
            </a:r>
            <a:r>
              <a:rPr lang="en-US" altLang="zh-CN" sz="1600" i="1" dirty="0" err="1">
                <a:solidFill>
                  <a:srgbClr val="9B1717"/>
                </a:solidFill>
                <a:latin typeface="Arial" pitchFamily="34" charset="0"/>
                <a:cs typeface="Arial" pitchFamily="34" charset="0"/>
              </a:rPr>
              <a:t>Yu’e</a:t>
            </a:r>
            <a:r>
              <a:rPr lang="en-US" altLang="zh-CN" sz="1600" i="1" dirty="0">
                <a:solidFill>
                  <a:srgbClr val="9B1717"/>
                </a:solidFill>
                <a:latin typeface="Arial" pitchFamily="34" charset="0"/>
                <a:cs typeface="Arial" pitchFamily="34" charset="0"/>
              </a:rPr>
              <a:t> Bao </a:t>
            </a:r>
            <a:r>
              <a:rPr lang="en-US" altLang="zh-CN" sz="1600" dirty="0">
                <a:latin typeface="Arial" pitchFamily="34" charset="0"/>
                <a:cs typeface="Arial" pitchFamily="34" charset="0"/>
              </a:rPr>
              <a:t>(world ’s largest MMF) in 2013</a:t>
            </a:r>
          </a:p>
          <a:p>
            <a:pPr marL="821863" lvl="1" indent="-342900">
              <a:spcBef>
                <a:spcPts val="300"/>
              </a:spcBef>
              <a:buClr>
                <a:schemeClr val="bg2"/>
              </a:buClr>
              <a:buFont typeface="Wingdings" panose="05000000000000000000" pitchFamily="2" charset="2"/>
              <a:buChar char="ü"/>
            </a:pPr>
            <a:r>
              <a:rPr lang="en-US" altLang="zh-CN" sz="1600" dirty="0">
                <a:latin typeface="Arial" pitchFamily="34" charset="0"/>
                <a:cs typeface="Arial" pitchFamily="34" charset="0"/>
              </a:rPr>
              <a:t>Docked with more than </a:t>
            </a:r>
            <a:r>
              <a:rPr lang="en-US" altLang="zh-CN" sz="1600" i="1" dirty="0">
                <a:solidFill>
                  <a:srgbClr val="9B1717"/>
                </a:solidFill>
                <a:latin typeface="Arial" pitchFamily="34" charset="0"/>
                <a:cs typeface="Arial" pitchFamily="34" charset="0"/>
              </a:rPr>
              <a:t>20 MMFs </a:t>
            </a:r>
            <a:r>
              <a:rPr lang="en-US" altLang="zh-CN" sz="1600" dirty="0">
                <a:latin typeface="Arial" pitchFamily="34" charset="0"/>
                <a:cs typeface="Arial" pitchFamily="34" charset="0"/>
              </a:rPr>
              <a:t>now</a:t>
            </a:r>
          </a:p>
          <a:p>
            <a:pPr marL="342900" indent="-342900">
              <a:spcBef>
                <a:spcPts val="300"/>
              </a:spcBef>
              <a:buClr>
                <a:schemeClr val="bg2"/>
              </a:buClr>
              <a:buFont typeface="Wingdings" panose="05000000000000000000" pitchFamily="2" charset="2"/>
              <a:buChar char="p"/>
            </a:pPr>
            <a:r>
              <a:rPr lang="en-US" altLang="zh-CN" sz="1600" dirty="0">
                <a:latin typeface="Arial" pitchFamily="34" charset="0"/>
                <a:cs typeface="Arial" pitchFamily="34" charset="0"/>
              </a:rPr>
              <a:t>User of </a:t>
            </a:r>
            <a:r>
              <a:rPr lang="en-US" altLang="zh-CN" sz="1600" dirty="0" err="1">
                <a:latin typeface="Arial" pitchFamily="34" charset="0"/>
                <a:cs typeface="Arial" pitchFamily="34" charset="0"/>
              </a:rPr>
              <a:t>Tianhong</a:t>
            </a:r>
            <a:r>
              <a:rPr lang="en-US" altLang="zh-CN" sz="1600" dirty="0">
                <a:latin typeface="Arial" pitchFamily="34" charset="0"/>
                <a:cs typeface="Arial" pitchFamily="34" charset="0"/>
              </a:rPr>
              <a:t> </a:t>
            </a:r>
            <a:r>
              <a:rPr lang="en-US" altLang="zh-CN" sz="1600" dirty="0" err="1">
                <a:latin typeface="Arial" pitchFamily="34" charset="0"/>
                <a:cs typeface="Arial" pitchFamily="34" charset="0"/>
              </a:rPr>
              <a:t>Yu’e</a:t>
            </a:r>
            <a:r>
              <a:rPr lang="en-US" altLang="zh-CN" sz="1600" dirty="0">
                <a:latin typeface="Arial" pitchFamily="34" charset="0"/>
                <a:cs typeface="Arial" pitchFamily="34" charset="0"/>
              </a:rPr>
              <a:t> Bao: </a:t>
            </a:r>
            <a:r>
              <a:rPr lang="en-US" altLang="zh-CN" sz="1600" b="1" dirty="0">
                <a:solidFill>
                  <a:srgbClr val="9B1717"/>
                </a:solidFill>
                <a:latin typeface="Arial" pitchFamily="34" charset="0"/>
                <a:cs typeface="Arial" pitchFamily="34" charset="0"/>
              </a:rPr>
              <a:t>619.19M</a:t>
            </a:r>
            <a:r>
              <a:rPr lang="en-US" altLang="zh-CN" sz="1600" dirty="0">
                <a:latin typeface="Arial" pitchFamily="34" charset="0"/>
                <a:cs typeface="Arial" pitchFamily="34" charset="0"/>
              </a:rPr>
              <a:t> as of 2019H</a:t>
            </a:r>
            <a:r>
              <a:rPr lang="zh-CN" altLang="en-US" sz="1600" dirty="0">
                <a:latin typeface="Arial" pitchFamily="34" charset="0"/>
                <a:cs typeface="Arial" pitchFamily="34" charset="0"/>
              </a:rPr>
              <a:t>，</a:t>
            </a:r>
            <a:r>
              <a:rPr lang="en-GB" altLang="zh-CN" sz="1600" dirty="0">
                <a:latin typeface="Arial" pitchFamily="34" charset="0"/>
                <a:cs typeface="Arial" pitchFamily="34" charset="0"/>
              </a:rPr>
              <a:t>half of China's population</a:t>
            </a:r>
          </a:p>
          <a:p>
            <a:pPr algn="ctr">
              <a:spcBef>
                <a:spcPts val="300"/>
              </a:spcBef>
              <a:buClr>
                <a:schemeClr val="bg2"/>
              </a:buClr>
            </a:pPr>
            <a:r>
              <a:rPr lang="en-US" altLang="zh-CN" sz="1600" i="1" u="sng" dirty="0">
                <a:latin typeface="Arial" pitchFamily="34" charset="0"/>
                <a:cs typeface="Arial" pitchFamily="34" charset="0"/>
              </a:rPr>
              <a:t>MMFs seem less popular than before, why?</a:t>
            </a:r>
          </a:p>
        </p:txBody>
      </p:sp>
      <p:pic>
        <p:nvPicPr>
          <p:cNvPr id="10" name="图片 9">
            <a:extLst>
              <a:ext uri="{FF2B5EF4-FFF2-40B4-BE49-F238E27FC236}">
                <a16:creationId xmlns:a16="http://schemas.microsoft.com/office/drawing/2014/main" id="{68E8192D-D98D-4398-AAA1-B19F45FCC686}"/>
              </a:ext>
            </a:extLst>
          </p:cNvPr>
          <p:cNvPicPr>
            <a:picLocks noChangeAspect="1"/>
          </p:cNvPicPr>
          <p:nvPr/>
        </p:nvPicPr>
        <p:blipFill>
          <a:blip r:embed="rId2"/>
          <a:stretch>
            <a:fillRect/>
          </a:stretch>
        </p:blipFill>
        <p:spPr>
          <a:xfrm>
            <a:off x="553521" y="3994478"/>
            <a:ext cx="4070027" cy="2809366"/>
          </a:xfrm>
          <a:prstGeom prst="rect">
            <a:avLst/>
          </a:prstGeom>
        </p:spPr>
      </p:pic>
      <p:sp>
        <p:nvSpPr>
          <p:cNvPr id="11" name="矩形 10">
            <a:extLst>
              <a:ext uri="{FF2B5EF4-FFF2-40B4-BE49-F238E27FC236}">
                <a16:creationId xmlns:a16="http://schemas.microsoft.com/office/drawing/2014/main" id="{FB701CC9-12A2-45C7-9FBC-1D189C03CA33}"/>
              </a:ext>
            </a:extLst>
          </p:cNvPr>
          <p:cNvSpPr/>
          <p:nvPr/>
        </p:nvSpPr>
        <p:spPr>
          <a:xfrm>
            <a:off x="553521" y="3514129"/>
            <a:ext cx="4070027" cy="318593"/>
          </a:xfrm>
          <a:prstGeom prst="rect">
            <a:avLst/>
          </a:prstGeom>
          <a:solidFill>
            <a:srgbClr val="9B1717"/>
          </a:solidFill>
          <a:ln w="6350" cap="flat">
            <a:noFill/>
            <a:miter lim="800000"/>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r>
              <a:rPr lang="en-US" altLang="zh-CN" sz="1400" b="1" dirty="0">
                <a:latin typeface="Arial" pitchFamily="34" charset="0"/>
                <a:cs typeface="Arial" pitchFamily="34" charset="0"/>
              </a:rPr>
              <a:t>MMFs fund scale continues to shrink</a:t>
            </a:r>
          </a:p>
        </p:txBody>
      </p:sp>
      <p:grpSp>
        <p:nvGrpSpPr>
          <p:cNvPr id="2" name="组合 1">
            <a:extLst>
              <a:ext uri="{FF2B5EF4-FFF2-40B4-BE49-F238E27FC236}">
                <a16:creationId xmlns:a16="http://schemas.microsoft.com/office/drawing/2014/main" id="{0754188F-1575-475D-82A5-00ED9C740016}"/>
              </a:ext>
            </a:extLst>
          </p:cNvPr>
          <p:cNvGrpSpPr/>
          <p:nvPr/>
        </p:nvGrpSpPr>
        <p:grpSpPr>
          <a:xfrm>
            <a:off x="1081663" y="4005858"/>
            <a:ext cx="2431237" cy="613385"/>
            <a:chOff x="944528" y="3789834"/>
            <a:chExt cx="2431237" cy="613385"/>
          </a:xfrm>
        </p:grpSpPr>
        <p:sp>
          <p:nvSpPr>
            <p:cNvPr id="12" name="矩形 11">
              <a:extLst>
                <a:ext uri="{FF2B5EF4-FFF2-40B4-BE49-F238E27FC236}">
                  <a16:creationId xmlns:a16="http://schemas.microsoft.com/office/drawing/2014/main" id="{0B6F6665-345F-4154-A6FE-D8EF83E1A253}"/>
                </a:ext>
              </a:extLst>
            </p:cNvPr>
            <p:cNvSpPr/>
            <p:nvPr/>
          </p:nvSpPr>
          <p:spPr>
            <a:xfrm>
              <a:off x="944528" y="3789834"/>
              <a:ext cx="288032" cy="108012"/>
            </a:xfrm>
            <a:prstGeom prst="rect">
              <a:avLst/>
            </a:prstGeom>
            <a:solidFill>
              <a:srgbClr val="8E2929"/>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zh-CN" altLang="en-US" sz="1400" dirty="0" err="1">
                <a:solidFill>
                  <a:schemeClr val="bg1"/>
                </a:solidFill>
                <a:latin typeface="Arial" pitchFamily="34" charset="0"/>
                <a:cs typeface="Arial" pitchFamily="34" charset="0"/>
              </a:endParaRPr>
            </a:p>
          </p:txBody>
        </p:sp>
        <p:sp>
          <p:nvSpPr>
            <p:cNvPr id="13" name="矩形 12">
              <a:extLst>
                <a:ext uri="{FF2B5EF4-FFF2-40B4-BE49-F238E27FC236}">
                  <a16:creationId xmlns:a16="http://schemas.microsoft.com/office/drawing/2014/main" id="{633B1902-C728-4BA3-935A-BF5771FEAC30}"/>
                </a:ext>
              </a:extLst>
            </p:cNvPr>
            <p:cNvSpPr/>
            <p:nvPr/>
          </p:nvSpPr>
          <p:spPr>
            <a:xfrm>
              <a:off x="944528" y="4026076"/>
              <a:ext cx="288032" cy="108012"/>
            </a:xfrm>
            <a:prstGeom prst="rect">
              <a:avLst/>
            </a:prstGeom>
            <a:solidFill>
              <a:srgbClr val="CF919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zh-CN" altLang="en-US" sz="1400" dirty="0" err="1">
                <a:solidFill>
                  <a:schemeClr val="bg1"/>
                </a:solidFill>
                <a:latin typeface="Arial" pitchFamily="34" charset="0"/>
                <a:cs typeface="Arial" pitchFamily="34" charset="0"/>
              </a:endParaRPr>
            </a:p>
          </p:txBody>
        </p:sp>
        <p:sp>
          <p:nvSpPr>
            <p:cNvPr id="14" name="矩形 13">
              <a:extLst>
                <a:ext uri="{FF2B5EF4-FFF2-40B4-BE49-F238E27FC236}">
                  <a16:creationId xmlns:a16="http://schemas.microsoft.com/office/drawing/2014/main" id="{FE79A197-A83C-48E1-BA27-3B5564ADD6DB}"/>
                </a:ext>
              </a:extLst>
            </p:cNvPr>
            <p:cNvSpPr/>
            <p:nvPr/>
          </p:nvSpPr>
          <p:spPr>
            <a:xfrm>
              <a:off x="944528" y="4275888"/>
              <a:ext cx="288032" cy="54006"/>
            </a:xfrm>
            <a:prstGeom prst="rect">
              <a:avLst/>
            </a:prstGeom>
            <a:solidFill>
              <a:srgbClr val="FF222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zh-CN" altLang="en-US" sz="1400" dirty="0" err="1">
                <a:solidFill>
                  <a:schemeClr val="bg1"/>
                </a:solidFill>
                <a:latin typeface="Arial" pitchFamily="34" charset="0"/>
                <a:cs typeface="Arial" pitchFamily="34" charset="0"/>
              </a:endParaRPr>
            </a:p>
          </p:txBody>
        </p:sp>
        <p:sp>
          <p:nvSpPr>
            <p:cNvPr id="15" name="文本框 14">
              <a:extLst>
                <a:ext uri="{FF2B5EF4-FFF2-40B4-BE49-F238E27FC236}">
                  <a16:creationId xmlns:a16="http://schemas.microsoft.com/office/drawing/2014/main" id="{6617404B-7207-4B24-B777-AA23457EAF57}"/>
                </a:ext>
              </a:extLst>
            </p:cNvPr>
            <p:cNvSpPr txBox="1"/>
            <p:nvPr/>
          </p:nvSpPr>
          <p:spPr>
            <a:xfrm>
              <a:off x="1298767" y="3792283"/>
              <a:ext cx="2076998" cy="610936"/>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1100" dirty="0">
                  <a:solidFill>
                    <a:schemeClr val="bg2"/>
                  </a:solidFill>
                  <a:latin typeface="Arial" pitchFamily="34" charset="0"/>
                  <a:cs typeface="Arial" pitchFamily="34" charset="0"/>
                </a:rPr>
                <a:t>MMFs Scale</a:t>
              </a:r>
            </a:p>
            <a:p>
              <a:pPr>
                <a:lnSpc>
                  <a:spcPct val="90000"/>
                </a:lnSpc>
                <a:spcBef>
                  <a:spcPts val="600"/>
                </a:spcBef>
                <a:buClr>
                  <a:schemeClr val="bg2"/>
                </a:buClr>
              </a:pPr>
              <a:r>
                <a:rPr lang="en-GB" altLang="zh-CN" sz="1100" dirty="0">
                  <a:solidFill>
                    <a:schemeClr val="bg2"/>
                  </a:solidFill>
                  <a:latin typeface="Arial" pitchFamily="34" charset="0"/>
                  <a:cs typeface="Arial" pitchFamily="34" charset="0"/>
                </a:rPr>
                <a:t>Wealth Mgmt. Product Scale</a:t>
              </a:r>
            </a:p>
            <a:p>
              <a:pPr>
                <a:lnSpc>
                  <a:spcPct val="90000"/>
                </a:lnSpc>
                <a:spcBef>
                  <a:spcPts val="600"/>
                </a:spcBef>
                <a:buClr>
                  <a:schemeClr val="bg2"/>
                </a:buClr>
              </a:pPr>
              <a:r>
                <a:rPr lang="en-GB" altLang="zh-CN" sz="1100" dirty="0">
                  <a:solidFill>
                    <a:schemeClr val="bg2"/>
                  </a:solidFill>
                  <a:latin typeface="Arial" pitchFamily="34" charset="0"/>
                  <a:cs typeface="Arial" pitchFamily="34" charset="0"/>
                </a:rPr>
                <a:t>Total Amount</a:t>
              </a:r>
              <a:endParaRPr lang="zh-CN" altLang="en-US" sz="1100" dirty="0">
                <a:solidFill>
                  <a:schemeClr val="bg2"/>
                </a:solidFill>
                <a:latin typeface="Arial" pitchFamily="34" charset="0"/>
                <a:cs typeface="Arial" pitchFamily="34" charset="0"/>
              </a:endParaRPr>
            </a:p>
          </p:txBody>
        </p:sp>
      </p:grpSp>
      <p:pic>
        <p:nvPicPr>
          <p:cNvPr id="17" name="图片 16">
            <a:extLst>
              <a:ext uri="{FF2B5EF4-FFF2-40B4-BE49-F238E27FC236}">
                <a16:creationId xmlns:a16="http://schemas.microsoft.com/office/drawing/2014/main" id="{47D40D00-6912-4253-B4E8-3DBD8455B16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82850" y="4032797"/>
            <a:ext cx="3791621" cy="2725500"/>
          </a:xfrm>
          <a:prstGeom prst="rect">
            <a:avLst/>
          </a:prstGeom>
        </p:spPr>
      </p:pic>
      <p:sp>
        <p:nvSpPr>
          <p:cNvPr id="18" name="矩形 17">
            <a:extLst>
              <a:ext uri="{FF2B5EF4-FFF2-40B4-BE49-F238E27FC236}">
                <a16:creationId xmlns:a16="http://schemas.microsoft.com/office/drawing/2014/main" id="{05B49998-9869-43EC-871E-4D5932F6812D}"/>
              </a:ext>
            </a:extLst>
          </p:cNvPr>
          <p:cNvSpPr/>
          <p:nvPr/>
        </p:nvSpPr>
        <p:spPr>
          <a:xfrm>
            <a:off x="5282850" y="3513395"/>
            <a:ext cx="3881824" cy="318593"/>
          </a:xfrm>
          <a:prstGeom prst="rect">
            <a:avLst/>
          </a:prstGeom>
          <a:solidFill>
            <a:srgbClr val="9B1717"/>
          </a:solidFill>
          <a:ln w="6350" cap="flat">
            <a:noFill/>
            <a:miter lim="800000"/>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r>
              <a:rPr lang="en-US" altLang="zh-CN" sz="1400" b="1" dirty="0">
                <a:latin typeface="Arial" pitchFamily="34" charset="0"/>
                <a:cs typeface="Arial" pitchFamily="34" charset="0"/>
              </a:rPr>
              <a:t>Percentage of MMFs continues to shrink</a:t>
            </a:r>
          </a:p>
        </p:txBody>
      </p:sp>
      <p:sp>
        <p:nvSpPr>
          <p:cNvPr id="19" name="文本框 18">
            <a:extLst>
              <a:ext uri="{FF2B5EF4-FFF2-40B4-BE49-F238E27FC236}">
                <a16:creationId xmlns:a16="http://schemas.microsoft.com/office/drawing/2014/main" id="{B4E032C7-7A08-4C0F-BFBB-0FBF01969C62}"/>
              </a:ext>
            </a:extLst>
          </p:cNvPr>
          <p:cNvSpPr txBox="1"/>
          <p:nvPr/>
        </p:nvSpPr>
        <p:spPr>
          <a:xfrm>
            <a:off x="6824414" y="4063094"/>
            <a:ext cx="2076998" cy="152349"/>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1100" dirty="0">
                <a:solidFill>
                  <a:schemeClr val="bg2"/>
                </a:solidFill>
                <a:latin typeface="Arial" pitchFamily="34" charset="0"/>
                <a:cs typeface="Arial" pitchFamily="34" charset="0"/>
              </a:rPr>
              <a:t>MMFs / Public Funds</a:t>
            </a:r>
            <a:endParaRPr lang="zh-CN" altLang="en-US" sz="1100" dirty="0">
              <a:solidFill>
                <a:schemeClr val="bg2"/>
              </a:solidFill>
              <a:latin typeface="Arial" pitchFamily="34" charset="0"/>
              <a:cs typeface="Arial" pitchFamily="34" charset="0"/>
            </a:endParaRPr>
          </a:p>
        </p:txBody>
      </p:sp>
      <p:sp>
        <p:nvSpPr>
          <p:cNvPr id="3" name="矩形 2">
            <a:extLst>
              <a:ext uri="{FF2B5EF4-FFF2-40B4-BE49-F238E27FC236}">
                <a16:creationId xmlns:a16="http://schemas.microsoft.com/office/drawing/2014/main" id="{6C0CD845-50A7-4F42-96E5-C651BE89FDD7}"/>
              </a:ext>
            </a:extLst>
          </p:cNvPr>
          <p:cNvSpPr/>
          <p:nvPr/>
        </p:nvSpPr>
        <p:spPr>
          <a:xfrm>
            <a:off x="307117" y="3838883"/>
            <a:ext cx="774546" cy="237757"/>
          </a:xfrm>
          <a:prstGeom prst="rect">
            <a:avLst/>
          </a:prstGeom>
        </p:spPr>
        <p:txBody>
          <a:bodyPr wrap="square">
            <a:spAutoFit/>
          </a:bodyPr>
          <a:lstStyle/>
          <a:p>
            <a:pPr>
              <a:lnSpc>
                <a:spcPct val="90000"/>
              </a:lnSpc>
              <a:spcBef>
                <a:spcPts val="600"/>
              </a:spcBef>
              <a:buClr>
                <a:schemeClr val="bg2"/>
              </a:buClr>
            </a:pPr>
            <a:r>
              <a:rPr lang="en-US" altLang="zh-CN" sz="1000" dirty="0">
                <a:solidFill>
                  <a:srgbClr val="9D9D9D"/>
                </a:solidFill>
                <a:latin typeface="Arial" pitchFamily="34" charset="0"/>
                <a:cs typeface="Arial" pitchFamily="34" charset="0"/>
              </a:rPr>
              <a:t>(x100M</a:t>
            </a:r>
            <a:r>
              <a:rPr lang="zh-CN" altLang="en-US" sz="1000" dirty="0">
                <a:solidFill>
                  <a:srgbClr val="9D9D9D"/>
                </a:solidFill>
                <a:latin typeface="Arial" pitchFamily="34" charset="0"/>
                <a:cs typeface="Arial" pitchFamily="34" charset="0"/>
              </a:rPr>
              <a:t>￥</a:t>
            </a:r>
            <a:r>
              <a:rPr lang="en-US" altLang="zh-CN" sz="1000" dirty="0">
                <a:solidFill>
                  <a:srgbClr val="9D9D9D"/>
                </a:solidFill>
                <a:latin typeface="Arial" pitchFamily="34" charset="0"/>
                <a:cs typeface="Arial" pitchFamily="34" charset="0"/>
              </a:rPr>
              <a:t>)</a:t>
            </a:r>
          </a:p>
        </p:txBody>
      </p:sp>
      <p:sp>
        <p:nvSpPr>
          <p:cNvPr id="4" name="矩形 3">
            <a:extLst>
              <a:ext uri="{FF2B5EF4-FFF2-40B4-BE49-F238E27FC236}">
                <a16:creationId xmlns:a16="http://schemas.microsoft.com/office/drawing/2014/main" id="{4E9E1DE9-37DC-43B6-934E-CB0ACD600B08}"/>
              </a:ext>
            </a:extLst>
          </p:cNvPr>
          <p:cNvSpPr/>
          <p:nvPr/>
        </p:nvSpPr>
        <p:spPr>
          <a:xfrm>
            <a:off x="4329643" y="3838882"/>
            <a:ext cx="349776" cy="237757"/>
          </a:xfrm>
          <a:prstGeom prst="rect">
            <a:avLst/>
          </a:prstGeom>
        </p:spPr>
        <p:txBody>
          <a:bodyPr wrap="none">
            <a:spAutoFit/>
          </a:bodyPr>
          <a:lstStyle/>
          <a:p>
            <a:pPr>
              <a:lnSpc>
                <a:spcPct val="90000"/>
              </a:lnSpc>
              <a:spcBef>
                <a:spcPts val="600"/>
              </a:spcBef>
              <a:buClr>
                <a:schemeClr val="bg2"/>
              </a:buClr>
            </a:pPr>
            <a:r>
              <a:rPr lang="en-US" altLang="zh-CN" sz="1000" dirty="0">
                <a:solidFill>
                  <a:srgbClr val="9D9D9D"/>
                </a:solidFill>
                <a:latin typeface="Arial" pitchFamily="34" charset="0"/>
                <a:cs typeface="Arial" pitchFamily="34" charset="0"/>
              </a:rPr>
              <a:t>(#)</a:t>
            </a:r>
          </a:p>
        </p:txBody>
      </p:sp>
      <p:sp>
        <p:nvSpPr>
          <p:cNvPr id="5" name="矩形: 圆角 4">
            <a:extLst>
              <a:ext uri="{FF2B5EF4-FFF2-40B4-BE49-F238E27FC236}">
                <a16:creationId xmlns:a16="http://schemas.microsoft.com/office/drawing/2014/main" id="{139EB38B-A256-47EB-8939-75E2FC30DB74}"/>
              </a:ext>
            </a:extLst>
          </p:cNvPr>
          <p:cNvSpPr/>
          <p:nvPr/>
        </p:nvSpPr>
        <p:spPr>
          <a:xfrm>
            <a:off x="3079998" y="4242100"/>
            <a:ext cx="1543550" cy="2561744"/>
          </a:xfrm>
          <a:prstGeom prst="roundRect">
            <a:avLst/>
          </a:prstGeom>
          <a:noFill/>
          <a:ln w="19050" cap="flat">
            <a:solidFill>
              <a:srgbClr val="9B1717"/>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zh-CN" altLang="en-US" sz="1400" dirty="0" err="1">
              <a:solidFill>
                <a:schemeClr val="bg1"/>
              </a:solidFill>
              <a:latin typeface="Arial" pitchFamily="34" charset="0"/>
              <a:cs typeface="Arial" pitchFamily="34" charset="0"/>
            </a:endParaRPr>
          </a:p>
        </p:txBody>
      </p:sp>
      <p:sp>
        <p:nvSpPr>
          <p:cNvPr id="6" name="椭圆 5">
            <a:extLst>
              <a:ext uri="{FF2B5EF4-FFF2-40B4-BE49-F238E27FC236}">
                <a16:creationId xmlns:a16="http://schemas.microsoft.com/office/drawing/2014/main" id="{6A0E2B58-1E72-4CF7-B329-0172131C852C}"/>
              </a:ext>
            </a:extLst>
          </p:cNvPr>
          <p:cNvSpPr/>
          <p:nvPr/>
        </p:nvSpPr>
        <p:spPr>
          <a:xfrm>
            <a:off x="8120558" y="4350112"/>
            <a:ext cx="917909" cy="917909"/>
          </a:xfrm>
          <a:prstGeom prst="ellipse">
            <a:avLst/>
          </a:prstGeom>
          <a:noFill/>
          <a:ln w="19050" cap="flat">
            <a:solidFill>
              <a:srgbClr val="9B1717"/>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zh-CN" altLang="en-US" sz="1400" dirty="0" err="1">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307174638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4.6 Prediction – April as test set</a:t>
            </a:r>
            <a:endParaRPr lang="en-US" dirty="0"/>
          </a:p>
        </p:txBody>
      </p:sp>
      <p:pic>
        <p:nvPicPr>
          <p:cNvPr id="13" name="图片 12">
            <a:extLst>
              <a:ext uri="{FF2B5EF4-FFF2-40B4-BE49-F238E27FC236}">
                <a16:creationId xmlns:a16="http://schemas.microsoft.com/office/drawing/2014/main" id="{F02737F5-1582-4A9C-99A2-AC3AEFC8E72D}"/>
              </a:ext>
            </a:extLst>
          </p:cNvPr>
          <p:cNvPicPr/>
          <p:nvPr/>
        </p:nvPicPr>
        <p:blipFill>
          <a:blip r:embed="rId2" cstate="print">
            <a:extLst>
              <a:ext uri="{28A0092B-C50C-407E-A947-70E740481C1C}">
                <a14:useLocalDpi xmlns:a14="http://schemas.microsoft.com/office/drawing/2010/main" val="0"/>
              </a:ext>
            </a:extLst>
          </a:blip>
          <a:stretch>
            <a:fillRect/>
          </a:stretch>
        </p:blipFill>
        <p:spPr>
          <a:xfrm>
            <a:off x="1005602" y="1212157"/>
            <a:ext cx="3632200" cy="1612265"/>
          </a:xfrm>
          <a:prstGeom prst="rect">
            <a:avLst/>
          </a:prstGeom>
        </p:spPr>
      </p:pic>
      <p:pic>
        <p:nvPicPr>
          <p:cNvPr id="14" name="图片 13">
            <a:extLst>
              <a:ext uri="{FF2B5EF4-FFF2-40B4-BE49-F238E27FC236}">
                <a16:creationId xmlns:a16="http://schemas.microsoft.com/office/drawing/2014/main" id="{CD77F340-C886-46F0-A698-3311275C1618}"/>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5025114" y="1237239"/>
            <a:ext cx="3571240" cy="1562100"/>
          </a:xfrm>
          <a:prstGeom prst="rect">
            <a:avLst/>
          </a:prstGeom>
        </p:spPr>
      </p:pic>
      <p:pic>
        <p:nvPicPr>
          <p:cNvPr id="15" name="图片 14">
            <a:extLst>
              <a:ext uri="{FF2B5EF4-FFF2-40B4-BE49-F238E27FC236}">
                <a16:creationId xmlns:a16="http://schemas.microsoft.com/office/drawing/2014/main" id="{1C95ADD5-9B03-4679-9C75-3A5BEEAAC02B}"/>
              </a:ext>
            </a:extLst>
          </p:cNvPr>
          <p:cNvPicPr/>
          <p:nvPr/>
        </p:nvPicPr>
        <p:blipFill>
          <a:blip r:embed="rId4">
            <a:extLst>
              <a:ext uri="{28A0092B-C50C-407E-A947-70E740481C1C}">
                <a14:useLocalDpi xmlns:a14="http://schemas.microsoft.com/office/drawing/2010/main" val="0"/>
              </a:ext>
            </a:extLst>
          </a:blip>
          <a:stretch>
            <a:fillRect/>
          </a:stretch>
        </p:blipFill>
        <p:spPr>
          <a:xfrm>
            <a:off x="1005602" y="3089044"/>
            <a:ext cx="3719195" cy="1604645"/>
          </a:xfrm>
          <a:prstGeom prst="rect">
            <a:avLst/>
          </a:prstGeom>
        </p:spPr>
      </p:pic>
      <p:pic>
        <p:nvPicPr>
          <p:cNvPr id="16" name="图片 15">
            <a:extLst>
              <a:ext uri="{FF2B5EF4-FFF2-40B4-BE49-F238E27FC236}">
                <a16:creationId xmlns:a16="http://schemas.microsoft.com/office/drawing/2014/main" id="{860F4B8D-C93A-4ECB-8631-0F1037FF73A7}"/>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5025114" y="3090906"/>
            <a:ext cx="3571240" cy="1604645"/>
          </a:xfrm>
          <a:prstGeom prst="rect">
            <a:avLst/>
          </a:prstGeom>
        </p:spPr>
      </p:pic>
      <p:pic>
        <p:nvPicPr>
          <p:cNvPr id="17" name="图片 16">
            <a:extLst>
              <a:ext uri="{FF2B5EF4-FFF2-40B4-BE49-F238E27FC236}">
                <a16:creationId xmlns:a16="http://schemas.microsoft.com/office/drawing/2014/main" id="{3D5F2F9C-AF2D-4B16-B34C-6F5979ECCBCF}"/>
              </a:ext>
            </a:extLst>
          </p:cNvPr>
          <p:cNvPicPr/>
          <p:nvPr/>
        </p:nvPicPr>
        <p:blipFill>
          <a:blip r:embed="rId6">
            <a:extLst>
              <a:ext uri="{28A0092B-C50C-407E-A947-70E740481C1C}">
                <a14:useLocalDpi xmlns:a14="http://schemas.microsoft.com/office/drawing/2010/main" val="0"/>
              </a:ext>
            </a:extLst>
          </a:blip>
          <a:stretch>
            <a:fillRect/>
          </a:stretch>
        </p:blipFill>
        <p:spPr>
          <a:xfrm>
            <a:off x="962104" y="4964733"/>
            <a:ext cx="3719195" cy="1723390"/>
          </a:xfrm>
          <a:prstGeom prst="rect">
            <a:avLst/>
          </a:prstGeom>
        </p:spPr>
      </p:pic>
      <p:pic>
        <p:nvPicPr>
          <p:cNvPr id="18" name="图片 17">
            <a:extLst>
              <a:ext uri="{FF2B5EF4-FFF2-40B4-BE49-F238E27FC236}">
                <a16:creationId xmlns:a16="http://schemas.microsoft.com/office/drawing/2014/main" id="{A8E36AFD-73B1-47AA-9DE6-567D6C115496}"/>
              </a:ext>
            </a:extLst>
          </p:cNvPr>
          <p:cNvPicPr/>
          <p:nvPr/>
        </p:nvPicPr>
        <p:blipFill>
          <a:blip r:embed="rId7">
            <a:extLst>
              <a:ext uri="{28A0092B-C50C-407E-A947-70E740481C1C}">
                <a14:useLocalDpi xmlns:a14="http://schemas.microsoft.com/office/drawing/2010/main" val="0"/>
              </a:ext>
            </a:extLst>
          </a:blip>
          <a:stretch>
            <a:fillRect/>
          </a:stretch>
        </p:blipFill>
        <p:spPr>
          <a:xfrm>
            <a:off x="5035890" y="4961243"/>
            <a:ext cx="3571241" cy="1723390"/>
          </a:xfrm>
          <a:prstGeom prst="rect">
            <a:avLst/>
          </a:prstGeom>
        </p:spPr>
      </p:pic>
      <p:sp>
        <p:nvSpPr>
          <p:cNvPr id="4" name="矩形 3">
            <a:extLst>
              <a:ext uri="{FF2B5EF4-FFF2-40B4-BE49-F238E27FC236}">
                <a16:creationId xmlns:a16="http://schemas.microsoft.com/office/drawing/2014/main" id="{D7D3A116-BE7B-4054-AAE1-252EB3CC45CA}"/>
              </a:ext>
            </a:extLst>
          </p:cNvPr>
          <p:cNvSpPr/>
          <p:nvPr/>
        </p:nvSpPr>
        <p:spPr>
          <a:xfrm>
            <a:off x="3904378" y="982112"/>
            <a:ext cx="2089033" cy="369332"/>
          </a:xfrm>
          <a:prstGeom prst="rect">
            <a:avLst/>
          </a:prstGeom>
        </p:spPr>
        <p:txBody>
          <a:bodyPr wrap="none">
            <a:spAutoFit/>
          </a:bodyPr>
          <a:lstStyle/>
          <a:p>
            <a:pPr algn="just">
              <a:spcAft>
                <a:spcPts val="0"/>
              </a:spcAft>
            </a:pPr>
            <a:r>
              <a:rPr lang="en-US" altLang="zh-CN" sz="1800" b="1" kern="100" dirty="0">
                <a:latin typeface="等线" panose="02010600030101010101" pitchFamily="2" charset="-122"/>
                <a:ea typeface="等线" panose="02010600030101010101" pitchFamily="2" charset="-122"/>
                <a:cs typeface="Times New Roman" panose="02020603050405020304" pitchFamily="18" charset="0"/>
              </a:rPr>
              <a:t>Gradient Boosting</a:t>
            </a:r>
            <a:endParaRPr lang="zh-CN" altLang="zh-CN" sz="1800" b="1" kern="100" dirty="0">
              <a:effectLst/>
              <a:latin typeface="等线" panose="02010600030101010101" pitchFamily="2" charset="-122"/>
              <a:ea typeface="等线" panose="02010600030101010101" pitchFamily="2" charset="-122"/>
              <a:cs typeface="Times New Roman" panose="02020603050405020304" pitchFamily="18" charset="0"/>
            </a:endParaRPr>
          </a:p>
        </p:txBody>
      </p:sp>
      <p:sp>
        <p:nvSpPr>
          <p:cNvPr id="20" name="矩形 19">
            <a:extLst>
              <a:ext uri="{FF2B5EF4-FFF2-40B4-BE49-F238E27FC236}">
                <a16:creationId xmlns:a16="http://schemas.microsoft.com/office/drawing/2014/main" id="{3271BA01-0653-4CFB-98FF-73A82C3EE81E}"/>
              </a:ext>
            </a:extLst>
          </p:cNvPr>
          <p:cNvSpPr/>
          <p:nvPr/>
        </p:nvSpPr>
        <p:spPr>
          <a:xfrm>
            <a:off x="4629048" y="2837020"/>
            <a:ext cx="644728" cy="369332"/>
          </a:xfrm>
          <a:prstGeom prst="rect">
            <a:avLst/>
          </a:prstGeom>
        </p:spPr>
        <p:txBody>
          <a:bodyPr wrap="none">
            <a:spAutoFit/>
          </a:bodyPr>
          <a:lstStyle/>
          <a:p>
            <a:pPr algn="just">
              <a:spcAft>
                <a:spcPts val="0"/>
              </a:spcAft>
            </a:pPr>
            <a:r>
              <a:rPr lang="en-US" altLang="zh-CN" sz="1800" b="1" kern="100" dirty="0">
                <a:latin typeface="等线" panose="02010600030101010101" pitchFamily="2" charset="-122"/>
                <a:ea typeface="等线" panose="02010600030101010101" pitchFamily="2" charset="-122"/>
                <a:cs typeface="Times New Roman" panose="02020603050405020304" pitchFamily="18" charset="0"/>
              </a:rPr>
              <a:t>MLP</a:t>
            </a:r>
            <a:endParaRPr lang="zh-CN" altLang="zh-CN" sz="1800" b="1" kern="100" dirty="0">
              <a:effectLst/>
              <a:latin typeface="等线" panose="02010600030101010101" pitchFamily="2" charset="-122"/>
              <a:ea typeface="等线" panose="02010600030101010101" pitchFamily="2" charset="-122"/>
              <a:cs typeface="Times New Roman" panose="02020603050405020304" pitchFamily="18" charset="0"/>
            </a:endParaRPr>
          </a:p>
        </p:txBody>
      </p:sp>
      <p:sp>
        <p:nvSpPr>
          <p:cNvPr id="21" name="矩形 20">
            <a:extLst>
              <a:ext uri="{FF2B5EF4-FFF2-40B4-BE49-F238E27FC236}">
                <a16:creationId xmlns:a16="http://schemas.microsoft.com/office/drawing/2014/main" id="{2CFED11E-AC17-410D-8181-913A23B1683B}"/>
              </a:ext>
            </a:extLst>
          </p:cNvPr>
          <p:cNvSpPr/>
          <p:nvPr/>
        </p:nvSpPr>
        <p:spPr>
          <a:xfrm>
            <a:off x="4646681" y="4754984"/>
            <a:ext cx="627095" cy="369332"/>
          </a:xfrm>
          <a:prstGeom prst="rect">
            <a:avLst/>
          </a:prstGeom>
        </p:spPr>
        <p:txBody>
          <a:bodyPr wrap="none">
            <a:spAutoFit/>
          </a:bodyPr>
          <a:lstStyle/>
          <a:p>
            <a:pPr algn="just">
              <a:spcAft>
                <a:spcPts val="0"/>
              </a:spcAft>
            </a:pPr>
            <a:r>
              <a:rPr lang="en-US" altLang="zh-CN" sz="1800" b="1" kern="100" dirty="0">
                <a:latin typeface="等线" panose="02010600030101010101" pitchFamily="2" charset="-122"/>
                <a:ea typeface="等线" panose="02010600030101010101" pitchFamily="2" charset="-122"/>
                <a:cs typeface="Times New Roman" panose="02020603050405020304" pitchFamily="18" charset="0"/>
              </a:rPr>
              <a:t>XGB</a:t>
            </a:r>
            <a:endParaRPr lang="zh-CN" altLang="zh-CN" sz="1800" b="1" kern="100" dirty="0">
              <a:effectLst/>
              <a:latin typeface="等线" panose="02010600030101010101" pitchFamily="2" charset="-122"/>
              <a:ea typeface="等线"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36274934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4.7 Prediction – Online Score</a:t>
            </a:r>
            <a:endParaRPr lang="en-US" dirty="0"/>
          </a:p>
        </p:txBody>
      </p:sp>
      <p:sp>
        <p:nvSpPr>
          <p:cNvPr id="3" name="Text Placeholder 5"/>
          <p:cNvSpPr txBox="1">
            <a:spLocks/>
          </p:cNvSpPr>
          <p:nvPr/>
        </p:nvSpPr>
        <p:spPr>
          <a:xfrm>
            <a:off x="264841" y="1160464"/>
            <a:ext cx="9151861" cy="1405234"/>
          </a:xfrm>
          <a:prstGeom prst="rect">
            <a:avLst/>
          </a:prstGeom>
        </p:spPr>
        <p:txBody>
          <a:bodyPr/>
          <a:lstStyle>
            <a:lvl1pPr marL="188568" indent="-188568" algn="l" defTabSz="957925" rtl="0" eaLnBrk="1" latinLnBrk="0" hangingPunct="1">
              <a:lnSpc>
                <a:spcPct val="90000"/>
              </a:lnSpc>
              <a:spcBef>
                <a:spcPts val="1467"/>
              </a:spcBef>
              <a:buClr>
                <a:schemeClr val="bg2"/>
              </a:buClr>
              <a:buSzPct val="100000"/>
              <a:buFont typeface="Arial" pitchFamily="34" charset="0"/>
              <a:buChar char="■"/>
              <a:defRPr sz="1700" kern="1200">
                <a:solidFill>
                  <a:schemeClr val="tx1"/>
                </a:solidFill>
                <a:latin typeface="Palatino Linotype" panose="02040502050505030304" pitchFamily="18" charset="0"/>
                <a:ea typeface="+mn-ea"/>
                <a:cs typeface="Arial" pitchFamily="34" charset="0"/>
              </a:defRPr>
            </a:lvl1pPr>
            <a:lvl2pPr marL="325695" indent="-134110" algn="l" defTabSz="957925" rtl="0" eaLnBrk="1" latinLnBrk="0" hangingPunct="1">
              <a:lnSpc>
                <a:spcPct val="90000"/>
              </a:lnSpc>
              <a:spcBef>
                <a:spcPts val="943"/>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2pPr>
            <a:lvl3pPr marL="512905" indent="-188568" algn="l" defTabSz="957925" rtl="0" eaLnBrk="1" latinLnBrk="0" hangingPunct="1">
              <a:lnSpc>
                <a:spcPct val="90000"/>
              </a:lnSpc>
              <a:spcBef>
                <a:spcPts val="629"/>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3pPr>
            <a:lvl4pPr marL="663759" indent="-143689" algn="l" defTabSz="957925" rtl="0" eaLnBrk="1" latinLnBrk="0" hangingPunct="1">
              <a:lnSpc>
                <a:spcPct val="90000"/>
              </a:lnSpc>
              <a:spcBef>
                <a:spcPts val="210"/>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4pPr>
            <a:lvl5pPr marL="807071" indent="-143312" algn="l" defTabSz="957925" rtl="0" eaLnBrk="1" latinLnBrk="0" hangingPunct="1">
              <a:lnSpc>
                <a:spcPct val="90000"/>
              </a:lnSpc>
              <a:spcBef>
                <a:spcPts val="105"/>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5pPr>
            <a:lvl6pPr marL="2634295"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3258"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2220"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1183"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r>
              <a:rPr lang="en-US" altLang="zh-CN" dirty="0"/>
              <a:t>XGB has the best effect, while XGB is not the best in the test set of April. </a:t>
            </a:r>
          </a:p>
          <a:p>
            <a:r>
              <a:rPr lang="en-US" altLang="zh-CN" dirty="0"/>
              <a:t>XGB has stronger generalization ability, and can avoid overfitting problems, as described in our analysis of the model above.</a:t>
            </a:r>
            <a:endParaRPr lang="en-US" sz="1600" dirty="0"/>
          </a:p>
        </p:txBody>
      </p:sp>
      <p:graphicFrame>
        <p:nvGraphicFramePr>
          <p:cNvPr id="6" name="表格 5">
            <a:extLst>
              <a:ext uri="{FF2B5EF4-FFF2-40B4-BE49-F238E27FC236}">
                <a16:creationId xmlns:a16="http://schemas.microsoft.com/office/drawing/2014/main" id="{974FAE83-BDD9-4BA6-BF77-549DE88678C4}"/>
              </a:ext>
            </a:extLst>
          </p:cNvPr>
          <p:cNvGraphicFramePr>
            <a:graphicFrameLocks noGrp="1"/>
          </p:cNvGraphicFramePr>
          <p:nvPr/>
        </p:nvGraphicFramePr>
        <p:xfrm>
          <a:off x="1438393" y="2792663"/>
          <a:ext cx="6804755" cy="3133424"/>
        </p:xfrm>
        <a:graphic>
          <a:graphicData uri="http://schemas.openxmlformats.org/drawingml/2006/table">
            <a:tbl>
              <a:tblPr firstRow="1" bandRow="1">
                <a:tableStyleId>{F5AB1C69-6EDB-4FF4-983F-18BD219EF322}</a:tableStyleId>
              </a:tblPr>
              <a:tblGrid>
                <a:gridCol w="2763664">
                  <a:extLst>
                    <a:ext uri="{9D8B030D-6E8A-4147-A177-3AD203B41FA5}">
                      <a16:colId xmlns:a16="http://schemas.microsoft.com/office/drawing/2014/main" val="2994608365"/>
                    </a:ext>
                  </a:extLst>
                </a:gridCol>
                <a:gridCol w="1544581">
                  <a:extLst>
                    <a:ext uri="{9D8B030D-6E8A-4147-A177-3AD203B41FA5}">
                      <a16:colId xmlns:a16="http://schemas.microsoft.com/office/drawing/2014/main" val="1700011380"/>
                    </a:ext>
                  </a:extLst>
                </a:gridCol>
                <a:gridCol w="2496510">
                  <a:extLst>
                    <a:ext uri="{9D8B030D-6E8A-4147-A177-3AD203B41FA5}">
                      <a16:colId xmlns:a16="http://schemas.microsoft.com/office/drawing/2014/main" val="991231701"/>
                    </a:ext>
                  </a:extLst>
                </a:gridCol>
              </a:tblGrid>
              <a:tr h="447632">
                <a:tc>
                  <a:txBody>
                    <a:bodyPr/>
                    <a:lstStyle/>
                    <a:p>
                      <a:pPr algn="ctr"/>
                      <a:endParaRPr lang="zh-CN" sz="1200" kern="100">
                        <a:effectLst/>
                        <a:latin typeface="等线" panose="02010600030101010101" pitchFamily="2" charset="-122"/>
                        <a:ea typeface="等线" panose="02010600030101010101" pitchFamily="2" charset="-122"/>
                      </a:endParaRPr>
                    </a:p>
                  </a:txBody>
                  <a:tcPr marL="68580" marR="68580" marT="0" marB="0" anchor="ctr">
                    <a:solidFill>
                      <a:srgbClr val="9B1717"/>
                    </a:solidFill>
                  </a:tcPr>
                </a:tc>
                <a:tc>
                  <a:txBody>
                    <a:bodyPr/>
                    <a:lstStyle/>
                    <a:p>
                      <a:pPr algn="ctr">
                        <a:spcAft>
                          <a:spcPts val="0"/>
                        </a:spcAft>
                      </a:pPr>
                      <a:r>
                        <a:rPr lang="en-US" sz="1200" kern="100" dirty="0">
                          <a:effectLst/>
                        </a:rPr>
                        <a:t>Test Set</a:t>
                      </a:r>
                      <a:endParaRPr lang="zh-CN" sz="12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solidFill>
                      <a:srgbClr val="9B1717"/>
                    </a:solidFill>
                  </a:tcPr>
                </a:tc>
                <a:tc>
                  <a:txBody>
                    <a:bodyPr/>
                    <a:lstStyle/>
                    <a:p>
                      <a:pPr algn="ctr">
                        <a:spcAft>
                          <a:spcPts val="0"/>
                        </a:spcAft>
                      </a:pPr>
                      <a:r>
                        <a:rPr lang="en-US" sz="1200" kern="100" dirty="0">
                          <a:effectLst/>
                        </a:rPr>
                        <a:t>Online Score</a:t>
                      </a:r>
                      <a:endParaRPr lang="zh-CN" sz="12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solidFill>
                      <a:srgbClr val="9B1717"/>
                    </a:solidFill>
                  </a:tcPr>
                </a:tc>
                <a:extLst>
                  <a:ext uri="{0D108BD9-81ED-4DB2-BD59-A6C34878D82A}">
                    <a16:rowId xmlns:a16="http://schemas.microsoft.com/office/drawing/2014/main" val="3603224699"/>
                  </a:ext>
                </a:extLst>
              </a:tr>
              <a:tr h="447632">
                <a:tc>
                  <a:txBody>
                    <a:bodyPr/>
                    <a:lstStyle/>
                    <a:p>
                      <a:pPr algn="ctr">
                        <a:spcAft>
                          <a:spcPts val="0"/>
                        </a:spcAft>
                      </a:pPr>
                      <a:r>
                        <a:rPr lang="en-US" sz="1200" b="1" kern="100" dirty="0">
                          <a:effectLst/>
                        </a:rPr>
                        <a:t>Linear Regression</a:t>
                      </a:r>
                      <a:endParaRPr lang="zh-CN" sz="1200" b="1"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en-US" sz="1200" kern="100" dirty="0">
                          <a:effectLst/>
                        </a:rPr>
                        <a:t>160.2887</a:t>
                      </a:r>
                      <a:endParaRPr lang="zh-CN" sz="12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en-US" sz="1200" kern="100" dirty="0">
                          <a:effectLst/>
                        </a:rPr>
                        <a:t>108.7332</a:t>
                      </a:r>
                      <a:endParaRPr lang="zh-CN" sz="12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805105232"/>
                  </a:ext>
                </a:extLst>
              </a:tr>
              <a:tr h="447632">
                <a:tc>
                  <a:txBody>
                    <a:bodyPr/>
                    <a:lstStyle/>
                    <a:p>
                      <a:pPr algn="ctr">
                        <a:spcAft>
                          <a:spcPts val="0"/>
                        </a:spcAft>
                      </a:pPr>
                      <a:r>
                        <a:rPr lang="en-US" sz="1200" b="1" kern="100" dirty="0">
                          <a:effectLst/>
                        </a:rPr>
                        <a:t>Decision Tree</a:t>
                      </a:r>
                      <a:endParaRPr lang="zh-CN" sz="1200" b="1"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en-US" sz="1200" kern="100">
                          <a:effectLst/>
                        </a:rPr>
                        <a:t>179.1604</a:t>
                      </a:r>
                      <a:endParaRPr lang="zh-CN" sz="12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en-US" sz="1200" kern="100" dirty="0">
                          <a:effectLst/>
                        </a:rPr>
                        <a:t>87.4493</a:t>
                      </a:r>
                      <a:endParaRPr lang="zh-CN" sz="12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3661397248"/>
                  </a:ext>
                </a:extLst>
              </a:tr>
              <a:tr h="447632">
                <a:tc>
                  <a:txBody>
                    <a:bodyPr/>
                    <a:lstStyle/>
                    <a:p>
                      <a:pPr algn="ctr">
                        <a:spcAft>
                          <a:spcPts val="0"/>
                        </a:spcAft>
                      </a:pPr>
                      <a:r>
                        <a:rPr lang="en-US" sz="1200" b="1" kern="100" dirty="0">
                          <a:effectLst/>
                        </a:rPr>
                        <a:t>Random Forest</a:t>
                      </a:r>
                      <a:endParaRPr lang="zh-CN" sz="1200" b="1"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en-US" sz="1200" kern="100">
                          <a:effectLst/>
                        </a:rPr>
                        <a:t>192.7704</a:t>
                      </a:r>
                      <a:endParaRPr lang="zh-CN" sz="12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en-US" sz="1200" kern="100">
                          <a:effectLst/>
                        </a:rPr>
                        <a:t>104.8427</a:t>
                      </a:r>
                      <a:endParaRPr lang="zh-CN" sz="12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1070571485"/>
                  </a:ext>
                </a:extLst>
              </a:tr>
              <a:tr h="447632">
                <a:tc>
                  <a:txBody>
                    <a:bodyPr/>
                    <a:lstStyle/>
                    <a:p>
                      <a:pPr algn="ctr">
                        <a:spcAft>
                          <a:spcPts val="0"/>
                        </a:spcAft>
                      </a:pPr>
                      <a:r>
                        <a:rPr lang="en-US" sz="1200" b="1" kern="100" dirty="0">
                          <a:effectLst/>
                        </a:rPr>
                        <a:t>Gradient Boosting</a:t>
                      </a:r>
                      <a:endParaRPr lang="zh-CN" sz="1200" b="1"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en-US" sz="1200" kern="100">
                          <a:effectLst/>
                        </a:rPr>
                        <a:t>202.6532</a:t>
                      </a:r>
                      <a:endParaRPr lang="zh-CN" sz="12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en-US" sz="1200" kern="100">
                          <a:effectLst/>
                        </a:rPr>
                        <a:t>115.5463</a:t>
                      </a:r>
                      <a:endParaRPr lang="zh-CN" sz="12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542870061"/>
                  </a:ext>
                </a:extLst>
              </a:tr>
              <a:tr h="447632">
                <a:tc>
                  <a:txBody>
                    <a:bodyPr/>
                    <a:lstStyle/>
                    <a:p>
                      <a:pPr algn="ctr">
                        <a:spcAft>
                          <a:spcPts val="0"/>
                        </a:spcAft>
                      </a:pPr>
                      <a:r>
                        <a:rPr lang="en-US" sz="1200" b="1" kern="100" dirty="0">
                          <a:effectLst/>
                        </a:rPr>
                        <a:t>MLP</a:t>
                      </a:r>
                      <a:endParaRPr lang="zh-CN" sz="1200" b="1"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en-US" sz="1200" kern="100">
                          <a:effectLst/>
                        </a:rPr>
                        <a:t>152.5565</a:t>
                      </a:r>
                      <a:endParaRPr lang="zh-CN" sz="12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en-US" sz="1200" kern="100">
                          <a:effectLst/>
                        </a:rPr>
                        <a:t>109.3498</a:t>
                      </a:r>
                      <a:endParaRPr lang="zh-CN" sz="12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1846226961"/>
                  </a:ext>
                </a:extLst>
              </a:tr>
              <a:tr h="447632">
                <a:tc>
                  <a:txBody>
                    <a:bodyPr/>
                    <a:lstStyle/>
                    <a:p>
                      <a:pPr algn="ctr">
                        <a:spcAft>
                          <a:spcPts val="0"/>
                        </a:spcAft>
                      </a:pPr>
                      <a:r>
                        <a:rPr lang="en-US" sz="1200" b="1" kern="100" dirty="0">
                          <a:effectLst/>
                        </a:rPr>
                        <a:t>XGB</a:t>
                      </a:r>
                      <a:endParaRPr lang="zh-CN" sz="1200" b="1"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en-US" sz="1200" kern="100">
                          <a:effectLst/>
                        </a:rPr>
                        <a:t>200.0075</a:t>
                      </a:r>
                      <a:endParaRPr lang="zh-CN" sz="12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en-US" sz="1200" kern="100" dirty="0">
                          <a:effectLst/>
                        </a:rPr>
                        <a:t>119.9311</a:t>
                      </a:r>
                      <a:endParaRPr lang="zh-CN" sz="12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781616695"/>
                  </a:ext>
                </a:extLst>
              </a:tr>
            </a:tbl>
          </a:graphicData>
        </a:graphic>
      </p:graphicFrame>
    </p:spTree>
    <p:extLst>
      <p:ext uri="{BB962C8B-B14F-4D97-AF65-F5344CB8AC3E}">
        <p14:creationId xmlns:p14="http://schemas.microsoft.com/office/powerpoint/2010/main" val="205465068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标题 11"/>
          <p:cNvSpPr>
            <a:spLocks noGrp="1"/>
          </p:cNvSpPr>
          <p:nvPr>
            <p:ph type="ctrTitle"/>
          </p:nvPr>
        </p:nvSpPr>
        <p:spPr/>
        <p:txBody>
          <a:bodyPr/>
          <a:lstStyle/>
          <a:p>
            <a:endParaRPr lang="zh-CN" altLang="en-US" dirty="0">
              <a:latin typeface="Palatino Linotype" panose="02040502050505030304" pitchFamily="18" charset="0"/>
              <a:ea typeface="微软雅黑" panose="020B0503020204020204" pitchFamily="34" charset="-122"/>
              <a:sym typeface="Palatino Linotype" panose="02040502050505030304" pitchFamily="18" charset="0"/>
            </a:endParaRPr>
          </a:p>
        </p:txBody>
      </p:sp>
      <p:sp>
        <p:nvSpPr>
          <p:cNvPr id="13" name="副标题 12"/>
          <p:cNvSpPr>
            <a:spLocks noGrp="1"/>
          </p:cNvSpPr>
          <p:nvPr>
            <p:ph type="subTitle" idx="1"/>
          </p:nvPr>
        </p:nvSpPr>
        <p:spPr>
          <a:xfrm>
            <a:off x="265157" y="3065354"/>
            <a:ext cx="9361046" cy="263149"/>
          </a:xfrm>
        </p:spPr>
        <p:txBody>
          <a:bodyPr/>
          <a:lstStyle/>
          <a:p>
            <a:endParaRPr lang="zh-CN" altLang="en-US" dirty="0">
              <a:latin typeface="Palatino Linotype" panose="02040502050505030304" pitchFamily="18" charset="0"/>
              <a:ea typeface="微软雅黑" panose="020B0503020204020204" pitchFamily="34" charset="-122"/>
              <a:sym typeface="Palatino Linotype" panose="02040502050505030304" pitchFamily="18" charset="0"/>
            </a:endParaRPr>
          </a:p>
        </p:txBody>
      </p:sp>
      <p:grpSp>
        <p:nvGrpSpPr>
          <p:cNvPr id="42" name="组合 41"/>
          <p:cNvGrpSpPr/>
          <p:nvPr/>
        </p:nvGrpSpPr>
        <p:grpSpPr>
          <a:xfrm>
            <a:off x="0" y="2433247"/>
            <a:ext cx="9904095" cy="1965630"/>
            <a:chOff x="170694" y="177982"/>
            <a:chExt cx="3936004" cy="781165"/>
          </a:xfrm>
        </p:grpSpPr>
        <p:sp>
          <p:nvSpPr>
            <p:cNvPr id="44" name="等腰三角形 43"/>
            <p:cNvSpPr/>
            <p:nvPr/>
          </p:nvSpPr>
          <p:spPr>
            <a:xfrm>
              <a:off x="1233863" y="177982"/>
              <a:ext cx="355284" cy="356514"/>
            </a:xfrm>
            <a:prstGeom prst="triangl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4280" tIns="37140" rIns="74280" bIns="37140" rtlCol="0" anchor="ctr"/>
            <a:lstStyle/>
            <a:p>
              <a:pPr marL="0" marR="0" lvl="0" indent="0" algn="ctr" defTabSz="958215" rtl="0" eaLnBrk="1" fontAlgn="auto" latinLnBrk="0" hangingPunct="1">
                <a:lnSpc>
                  <a:spcPct val="100000"/>
                </a:lnSpc>
                <a:spcBef>
                  <a:spcPts val="0"/>
                </a:spcBef>
                <a:spcAft>
                  <a:spcPts val="0"/>
                </a:spcAft>
                <a:buClrTx/>
                <a:buSzTx/>
                <a:buFontTx/>
                <a:buNone/>
                <a:tabLst/>
                <a:defRPr/>
              </a:pPr>
              <a:endParaRPr kumimoji="0" lang="zh-CN" altLang="en-US" sz="2060" b="0" i="0" u="none" strike="noStrike" kern="1200" cap="none" spc="0" normalizeH="0" baseline="0" noProof="0">
                <a:ln>
                  <a:noFill/>
                </a:ln>
                <a:solidFill>
                  <a:srgbClr val="FFFFFF"/>
                </a:solidFill>
                <a:effectLst/>
                <a:uLnTx/>
                <a:uFillTx/>
                <a:latin typeface="Palatino Linotype" panose="02040502050505030304" pitchFamily="18" charset="0"/>
                <a:ea typeface="微软雅黑" panose="020B0503020204020204" pitchFamily="34" charset="-122"/>
                <a:sym typeface="Palatino Linotype" panose="02040502050505030304" pitchFamily="18" charset="0"/>
              </a:endParaRPr>
            </a:p>
          </p:txBody>
        </p:sp>
        <p:sp>
          <p:nvSpPr>
            <p:cNvPr id="45" name="等腰三角形 44"/>
            <p:cNvSpPr/>
            <p:nvPr/>
          </p:nvSpPr>
          <p:spPr>
            <a:xfrm flipV="1">
              <a:off x="200258" y="602633"/>
              <a:ext cx="355284" cy="356514"/>
            </a:xfrm>
            <a:prstGeom prst="triangl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4280" tIns="37140" rIns="74280" bIns="37140" rtlCol="0" anchor="ctr"/>
            <a:lstStyle/>
            <a:p>
              <a:pPr marL="0" marR="0" lvl="0" indent="0" algn="ctr" defTabSz="958215" rtl="0" eaLnBrk="1" fontAlgn="auto" latinLnBrk="0" hangingPunct="1">
                <a:lnSpc>
                  <a:spcPct val="100000"/>
                </a:lnSpc>
                <a:spcBef>
                  <a:spcPts val="0"/>
                </a:spcBef>
                <a:spcAft>
                  <a:spcPts val="0"/>
                </a:spcAft>
                <a:buClrTx/>
                <a:buSzTx/>
                <a:buFontTx/>
                <a:buNone/>
                <a:tabLst/>
                <a:defRPr/>
              </a:pPr>
              <a:endParaRPr kumimoji="0" lang="zh-CN" altLang="en-US" sz="2060" b="0" i="0" u="none" strike="noStrike" kern="1200" cap="none" spc="0" normalizeH="0" baseline="0" noProof="0">
                <a:ln>
                  <a:noFill/>
                </a:ln>
                <a:solidFill>
                  <a:srgbClr val="FFFFFF"/>
                </a:solidFill>
                <a:effectLst/>
                <a:uLnTx/>
                <a:uFillTx/>
                <a:latin typeface="Palatino Linotype" panose="02040502050505030304" pitchFamily="18" charset="0"/>
                <a:ea typeface="微软雅黑" panose="020B0503020204020204" pitchFamily="34" charset="-122"/>
                <a:sym typeface="Palatino Linotype" panose="02040502050505030304" pitchFamily="18" charset="0"/>
              </a:endParaRPr>
            </a:p>
          </p:txBody>
        </p:sp>
        <p:sp>
          <p:nvSpPr>
            <p:cNvPr id="46" name="矩形 45"/>
            <p:cNvSpPr/>
            <p:nvPr/>
          </p:nvSpPr>
          <p:spPr>
            <a:xfrm>
              <a:off x="170694" y="261768"/>
              <a:ext cx="3936004" cy="6119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4280" tIns="37140" rIns="74280" bIns="37140" rtlCol="0" anchor="ctr"/>
            <a:lstStyle/>
            <a:p>
              <a:pPr marL="0" marR="0" lvl="0" indent="0" algn="ctr" defTabSz="958215" rtl="0" eaLnBrk="1" fontAlgn="auto" latinLnBrk="0" hangingPunct="1">
                <a:lnSpc>
                  <a:spcPct val="100000"/>
                </a:lnSpc>
                <a:spcBef>
                  <a:spcPts val="0"/>
                </a:spcBef>
                <a:spcAft>
                  <a:spcPts val="0"/>
                </a:spcAft>
                <a:buClrTx/>
                <a:buSzTx/>
                <a:buFontTx/>
                <a:buNone/>
                <a:tabLst/>
                <a:defRPr/>
              </a:pPr>
              <a:endParaRPr kumimoji="0" lang="zh-CN" altLang="en-US" sz="2060" b="0" i="0" u="none" strike="noStrike" kern="1200" cap="none" spc="0" normalizeH="0" baseline="0" noProof="0">
                <a:ln>
                  <a:noFill/>
                </a:ln>
                <a:solidFill>
                  <a:srgbClr val="FFFFFF"/>
                </a:solidFill>
                <a:effectLst/>
                <a:uLnTx/>
                <a:uFillTx/>
                <a:latin typeface="Palatino Linotype" panose="02040502050505030304" pitchFamily="18" charset="0"/>
                <a:ea typeface="微软雅黑" panose="020B0503020204020204" pitchFamily="34" charset="-122"/>
                <a:sym typeface="Palatino Linotype" panose="02040502050505030304" pitchFamily="18" charset="0"/>
              </a:endParaRPr>
            </a:p>
          </p:txBody>
        </p:sp>
        <p:sp>
          <p:nvSpPr>
            <p:cNvPr id="47" name="平行四边形 46"/>
            <p:cNvSpPr/>
            <p:nvPr/>
          </p:nvSpPr>
          <p:spPr>
            <a:xfrm>
              <a:off x="376965" y="178257"/>
              <a:ext cx="1036076" cy="779005"/>
            </a:xfrm>
            <a:prstGeom prst="parallelogram">
              <a:avLst>
                <a:gd name="adj" fmla="val 48207"/>
              </a:avLst>
            </a:prstGeom>
            <a:solidFill>
              <a:srgbClr val="B42100"/>
            </a:solidFill>
            <a:ln>
              <a:noFill/>
            </a:ln>
          </p:spPr>
          <p:style>
            <a:lnRef idx="2">
              <a:schemeClr val="accent1">
                <a:shade val="50000"/>
              </a:schemeClr>
            </a:lnRef>
            <a:fillRef idx="1">
              <a:schemeClr val="accent1"/>
            </a:fillRef>
            <a:effectRef idx="0">
              <a:schemeClr val="accent1"/>
            </a:effectRef>
            <a:fontRef idx="minor">
              <a:schemeClr val="lt1"/>
            </a:fontRef>
          </p:style>
          <p:txBody>
            <a:bodyPr lIns="74280" tIns="37140" rIns="74280" bIns="37140" rtlCol="0" anchor="ctr"/>
            <a:lstStyle/>
            <a:p>
              <a:pPr marL="0" marR="0" lvl="0" indent="0" algn="ctr" defTabSz="958215" rtl="0" eaLnBrk="1" fontAlgn="auto" latinLnBrk="0" hangingPunct="1">
                <a:lnSpc>
                  <a:spcPct val="100000"/>
                </a:lnSpc>
                <a:spcBef>
                  <a:spcPts val="0"/>
                </a:spcBef>
                <a:spcAft>
                  <a:spcPts val="0"/>
                </a:spcAft>
                <a:buClrTx/>
                <a:buSzTx/>
                <a:buFontTx/>
                <a:buNone/>
                <a:tabLst/>
                <a:defRPr/>
              </a:pPr>
              <a:endParaRPr kumimoji="0" lang="zh-CN" altLang="en-US" sz="2060" b="0" i="0" u="none" strike="noStrike" kern="1200" cap="none" spc="0" normalizeH="0" baseline="0" noProof="0">
                <a:ln>
                  <a:noFill/>
                </a:ln>
                <a:solidFill>
                  <a:srgbClr val="FFFFFF"/>
                </a:solidFill>
                <a:effectLst/>
                <a:uLnTx/>
                <a:uFillTx/>
                <a:latin typeface="Palatino Linotype" panose="02040502050505030304" pitchFamily="18" charset="0"/>
                <a:ea typeface="微软雅黑" panose="020B0503020204020204" pitchFamily="34" charset="-122"/>
                <a:sym typeface="Palatino Linotype" panose="02040502050505030304" pitchFamily="18" charset="0"/>
              </a:endParaRPr>
            </a:p>
          </p:txBody>
        </p:sp>
        <p:sp>
          <p:nvSpPr>
            <p:cNvPr id="48" name="文本框 6"/>
            <p:cNvSpPr txBox="1"/>
            <p:nvPr/>
          </p:nvSpPr>
          <p:spPr>
            <a:xfrm>
              <a:off x="650907" y="284178"/>
              <a:ext cx="569115" cy="559222"/>
            </a:xfrm>
            <a:prstGeom prst="rect">
              <a:avLst/>
            </a:prstGeom>
            <a:noFill/>
          </p:spPr>
          <p:txBody>
            <a:bodyPr wrap="square" lIns="74280" tIns="37140" rIns="74280" bIns="37140" rtlCol="0">
              <a:spAutoFit/>
            </a:bodyPr>
            <a:lstStyle/>
            <a:p>
              <a:pPr marL="0" marR="0" lvl="0" indent="0" algn="l" defTabSz="958215" rtl="0" eaLnBrk="1" fontAlgn="auto" latinLnBrk="0" hangingPunct="1">
                <a:lnSpc>
                  <a:spcPct val="100000"/>
                </a:lnSpc>
                <a:spcBef>
                  <a:spcPts val="0"/>
                </a:spcBef>
                <a:spcAft>
                  <a:spcPts val="0"/>
                </a:spcAft>
                <a:buClrTx/>
                <a:buSzTx/>
                <a:buFontTx/>
                <a:buNone/>
                <a:tabLst/>
                <a:defRPr/>
              </a:pPr>
              <a:r>
                <a:rPr lang="en-US" altLang="zh-CN" sz="8665" dirty="0">
                  <a:solidFill>
                    <a:srgbClr val="FFFFFF">
                      <a:lumMod val="95000"/>
                    </a:srgbClr>
                  </a:solidFill>
                  <a:latin typeface="Palatino Linotype" panose="02040502050505030304" pitchFamily="18" charset="0"/>
                  <a:ea typeface="微软雅黑" panose="020B0503020204020204" pitchFamily="34" charset="-122"/>
                  <a:sym typeface="Palatino Linotype" panose="02040502050505030304" pitchFamily="18" charset="0"/>
                </a:rPr>
                <a:t>05</a:t>
              </a:r>
              <a:endParaRPr kumimoji="0" lang="zh-CN" altLang="en-US" sz="8665" b="0" i="0" u="none" strike="noStrike" kern="1200" cap="none" spc="0" normalizeH="0" baseline="0" noProof="0" dirty="0">
                <a:ln>
                  <a:noFill/>
                </a:ln>
                <a:solidFill>
                  <a:srgbClr val="FFFFFF">
                    <a:lumMod val="95000"/>
                  </a:srgbClr>
                </a:solidFill>
                <a:effectLst/>
                <a:uLnTx/>
                <a:uFillTx/>
                <a:latin typeface="Palatino Linotype" panose="02040502050505030304" pitchFamily="18" charset="0"/>
                <a:ea typeface="微软雅黑" panose="020B0503020204020204" pitchFamily="34" charset="-122"/>
                <a:sym typeface="Palatino Linotype" panose="02040502050505030304" pitchFamily="18" charset="0"/>
              </a:endParaRPr>
            </a:p>
          </p:txBody>
        </p:sp>
      </p:grpSp>
      <p:sp>
        <p:nvSpPr>
          <p:cNvPr id="49" name="TextBox 48"/>
          <p:cNvSpPr txBox="1"/>
          <p:nvPr/>
        </p:nvSpPr>
        <p:spPr>
          <a:xfrm>
            <a:off x="3143058" y="2787176"/>
            <a:ext cx="6740343" cy="1429224"/>
          </a:xfrm>
          <a:prstGeom prst="rect">
            <a:avLst/>
          </a:prstGeom>
          <a:noFill/>
        </p:spPr>
        <p:txBody>
          <a:bodyPr wrap="square" lIns="74285" tIns="37141" rIns="74285" bIns="37141" rtlCol="0">
            <a:spAutoFit/>
          </a:bodyPr>
          <a:lstStyle/>
          <a:p>
            <a:pPr lvl="0">
              <a:defRPr/>
            </a:pPr>
            <a:r>
              <a:rPr lang="en-GB" altLang="zh-CN" sz="4400" b="1" dirty="0">
                <a:solidFill>
                  <a:srgbClr val="000000">
                    <a:lumMod val="75000"/>
                    <a:lumOff val="25000"/>
                  </a:srgbClr>
                </a:solidFill>
                <a:latin typeface="Palatino Linotype" panose="02040502050505030304" pitchFamily="18" charset="0"/>
                <a:ea typeface="微软雅黑" panose="020B0503020204020204" pitchFamily="34" charset="-122"/>
                <a:sym typeface="Palatino Linotype" panose="02040502050505030304" pitchFamily="18" charset="0"/>
              </a:rPr>
              <a:t>Result </a:t>
            </a:r>
            <a:r>
              <a:rPr lang="en-US" altLang="zh-CN" sz="4400" b="1" dirty="0">
                <a:solidFill>
                  <a:srgbClr val="000000">
                    <a:lumMod val="75000"/>
                    <a:lumOff val="25000"/>
                  </a:srgbClr>
                </a:solidFill>
                <a:latin typeface="Palatino Linotype" panose="02040502050505030304" pitchFamily="18" charset="0"/>
                <a:ea typeface="微软雅黑" panose="020B0503020204020204" pitchFamily="34" charset="-122"/>
                <a:sym typeface="Palatino Linotype" panose="02040502050505030304" pitchFamily="18" charset="0"/>
              </a:rPr>
              <a:t>A</a:t>
            </a:r>
            <a:r>
              <a:rPr lang="en-GB" altLang="zh-CN" sz="4400" b="1" dirty="0" err="1">
                <a:solidFill>
                  <a:srgbClr val="000000">
                    <a:lumMod val="75000"/>
                    <a:lumOff val="25000"/>
                  </a:srgbClr>
                </a:solidFill>
                <a:latin typeface="Palatino Linotype" panose="02040502050505030304" pitchFamily="18" charset="0"/>
                <a:ea typeface="微软雅黑" panose="020B0503020204020204" pitchFamily="34" charset="-122"/>
                <a:sym typeface="Palatino Linotype" panose="02040502050505030304" pitchFamily="18" charset="0"/>
              </a:rPr>
              <a:t>nalysis</a:t>
            </a:r>
            <a:r>
              <a:rPr lang="en-GB" altLang="zh-CN" sz="4400" b="1" dirty="0">
                <a:solidFill>
                  <a:srgbClr val="000000">
                    <a:lumMod val="75000"/>
                    <a:lumOff val="25000"/>
                  </a:srgbClr>
                </a:solidFill>
                <a:latin typeface="Palatino Linotype" panose="02040502050505030304" pitchFamily="18" charset="0"/>
                <a:ea typeface="微软雅黑" panose="020B0503020204020204" pitchFamily="34" charset="-122"/>
                <a:sym typeface="Palatino Linotype" panose="02040502050505030304" pitchFamily="18" charset="0"/>
              </a:rPr>
              <a:t> &amp;   	 	Interpretation</a:t>
            </a:r>
            <a:endParaRPr lang="en" altLang="zh-CN" sz="4400" b="1" dirty="0">
              <a:solidFill>
                <a:srgbClr val="000000">
                  <a:lumMod val="75000"/>
                  <a:lumOff val="25000"/>
                </a:srgbClr>
              </a:solidFill>
              <a:latin typeface="Palatino Linotype" panose="02040502050505030304" pitchFamily="18" charset="0"/>
              <a:ea typeface="微软雅黑" panose="020B0503020204020204" pitchFamily="34" charset="-122"/>
              <a:sym typeface="Palatino Linotype" panose="02040502050505030304" pitchFamily="18" charset="0"/>
            </a:endParaRPr>
          </a:p>
        </p:txBody>
      </p:sp>
    </p:spTree>
    <p:extLst>
      <p:ext uri="{BB962C8B-B14F-4D97-AF65-F5344CB8AC3E}">
        <p14:creationId xmlns:p14="http://schemas.microsoft.com/office/powerpoint/2010/main" val="307345063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5.1 Differences between results and expectations</a:t>
            </a:r>
            <a:endParaRPr lang="zh-CN" altLang="zh-CN" dirty="0"/>
          </a:p>
        </p:txBody>
      </p:sp>
      <p:sp>
        <p:nvSpPr>
          <p:cNvPr id="3" name="Text Placeholder 5"/>
          <p:cNvSpPr txBox="1">
            <a:spLocks/>
          </p:cNvSpPr>
          <p:nvPr/>
        </p:nvSpPr>
        <p:spPr>
          <a:xfrm>
            <a:off x="264841" y="1160464"/>
            <a:ext cx="8899833" cy="828092"/>
          </a:xfrm>
          <a:prstGeom prst="rect">
            <a:avLst/>
          </a:prstGeom>
        </p:spPr>
        <p:txBody>
          <a:bodyPr/>
          <a:lstStyle>
            <a:lvl1pPr marL="188568" indent="-188568" algn="l" defTabSz="957925" rtl="0" eaLnBrk="1" latinLnBrk="0" hangingPunct="1">
              <a:lnSpc>
                <a:spcPct val="90000"/>
              </a:lnSpc>
              <a:spcBef>
                <a:spcPts val="1467"/>
              </a:spcBef>
              <a:buClr>
                <a:schemeClr val="bg2"/>
              </a:buClr>
              <a:buSzPct val="100000"/>
              <a:buFont typeface="Arial" pitchFamily="34" charset="0"/>
              <a:buChar char="■"/>
              <a:defRPr sz="1700" kern="1200">
                <a:solidFill>
                  <a:schemeClr val="tx1"/>
                </a:solidFill>
                <a:latin typeface="Palatino Linotype" panose="02040502050505030304" pitchFamily="18" charset="0"/>
                <a:ea typeface="+mn-ea"/>
                <a:cs typeface="Arial" pitchFamily="34" charset="0"/>
              </a:defRPr>
            </a:lvl1pPr>
            <a:lvl2pPr marL="325695" indent="-134110" algn="l" defTabSz="957925" rtl="0" eaLnBrk="1" latinLnBrk="0" hangingPunct="1">
              <a:lnSpc>
                <a:spcPct val="90000"/>
              </a:lnSpc>
              <a:spcBef>
                <a:spcPts val="943"/>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2pPr>
            <a:lvl3pPr marL="512905" indent="-188568" algn="l" defTabSz="957925" rtl="0" eaLnBrk="1" latinLnBrk="0" hangingPunct="1">
              <a:lnSpc>
                <a:spcPct val="90000"/>
              </a:lnSpc>
              <a:spcBef>
                <a:spcPts val="629"/>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3pPr>
            <a:lvl4pPr marL="663759" indent="-143689" algn="l" defTabSz="957925" rtl="0" eaLnBrk="1" latinLnBrk="0" hangingPunct="1">
              <a:lnSpc>
                <a:spcPct val="90000"/>
              </a:lnSpc>
              <a:spcBef>
                <a:spcPts val="210"/>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4pPr>
            <a:lvl5pPr marL="807071" indent="-143312" algn="l" defTabSz="957925" rtl="0" eaLnBrk="1" latinLnBrk="0" hangingPunct="1">
              <a:lnSpc>
                <a:spcPct val="90000"/>
              </a:lnSpc>
              <a:spcBef>
                <a:spcPts val="105"/>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5pPr>
            <a:lvl6pPr marL="2634295"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3258"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2220"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1183"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r>
              <a:rPr lang="en-US" altLang="zh-CN" dirty="0"/>
              <a:t>3  differences from our </a:t>
            </a:r>
            <a:r>
              <a:rPr lang="en-US" altLang="zh-CN" dirty="0" err="1"/>
              <a:t>expections</a:t>
            </a:r>
            <a:r>
              <a:rPr lang="en-US" altLang="zh-CN" dirty="0"/>
              <a:t>:</a:t>
            </a:r>
            <a:endParaRPr lang="zh-CN" altLang="zh-CN" dirty="0"/>
          </a:p>
        </p:txBody>
      </p:sp>
      <p:sp>
        <p:nvSpPr>
          <p:cNvPr id="5" name="椭圆 4">
            <a:extLst>
              <a:ext uri="{FF2B5EF4-FFF2-40B4-BE49-F238E27FC236}">
                <a16:creationId xmlns:a16="http://schemas.microsoft.com/office/drawing/2014/main" id="{24554E4F-B9BF-43AB-A01D-77CEBA2844FF}"/>
              </a:ext>
            </a:extLst>
          </p:cNvPr>
          <p:cNvSpPr/>
          <p:nvPr/>
        </p:nvSpPr>
        <p:spPr>
          <a:xfrm>
            <a:off x="1711846" y="2349674"/>
            <a:ext cx="828092" cy="828092"/>
          </a:xfrm>
          <a:prstGeom prst="ellipse">
            <a:avLst/>
          </a:prstGeom>
          <a:solidFill>
            <a:srgbClr val="9B1717"/>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r>
              <a:rPr lang="en-US" altLang="zh-CN" sz="2800" b="1" dirty="0">
                <a:solidFill>
                  <a:schemeClr val="bg1"/>
                </a:solidFill>
                <a:latin typeface="Arial" pitchFamily="34" charset="0"/>
                <a:cs typeface="Arial" pitchFamily="34" charset="0"/>
              </a:rPr>
              <a:t>1</a:t>
            </a:r>
            <a:endParaRPr lang="zh-CN" altLang="en-US" sz="2800" b="1" dirty="0" err="1">
              <a:solidFill>
                <a:schemeClr val="bg1"/>
              </a:solidFill>
              <a:latin typeface="Arial" pitchFamily="34" charset="0"/>
              <a:cs typeface="Arial" pitchFamily="34" charset="0"/>
            </a:endParaRPr>
          </a:p>
        </p:txBody>
      </p:sp>
      <p:sp>
        <p:nvSpPr>
          <p:cNvPr id="7" name="椭圆 6">
            <a:extLst>
              <a:ext uri="{FF2B5EF4-FFF2-40B4-BE49-F238E27FC236}">
                <a16:creationId xmlns:a16="http://schemas.microsoft.com/office/drawing/2014/main" id="{75E510CE-13F7-4238-8D65-9E3501C17510}"/>
              </a:ext>
            </a:extLst>
          </p:cNvPr>
          <p:cNvSpPr/>
          <p:nvPr/>
        </p:nvSpPr>
        <p:spPr>
          <a:xfrm>
            <a:off x="1711846" y="3517429"/>
            <a:ext cx="828092" cy="828092"/>
          </a:xfrm>
          <a:prstGeom prst="ellipse">
            <a:avLst/>
          </a:prstGeom>
          <a:solidFill>
            <a:srgbClr val="9B1717"/>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r>
              <a:rPr lang="en-US" altLang="zh-CN" sz="2800" b="1" dirty="0">
                <a:solidFill>
                  <a:schemeClr val="bg1"/>
                </a:solidFill>
                <a:latin typeface="Arial" pitchFamily="34" charset="0"/>
                <a:cs typeface="Arial" pitchFamily="34" charset="0"/>
              </a:rPr>
              <a:t>2</a:t>
            </a:r>
            <a:endParaRPr lang="zh-CN" altLang="en-US" sz="2800" b="1" dirty="0" err="1">
              <a:solidFill>
                <a:schemeClr val="bg1"/>
              </a:solidFill>
              <a:latin typeface="Arial" pitchFamily="34" charset="0"/>
              <a:cs typeface="Arial" pitchFamily="34" charset="0"/>
            </a:endParaRPr>
          </a:p>
        </p:txBody>
      </p:sp>
      <p:sp>
        <p:nvSpPr>
          <p:cNvPr id="8" name="椭圆 7">
            <a:extLst>
              <a:ext uri="{FF2B5EF4-FFF2-40B4-BE49-F238E27FC236}">
                <a16:creationId xmlns:a16="http://schemas.microsoft.com/office/drawing/2014/main" id="{BA84A64A-E2EB-4807-85B2-360E3CA269A7}"/>
              </a:ext>
            </a:extLst>
          </p:cNvPr>
          <p:cNvSpPr/>
          <p:nvPr/>
        </p:nvSpPr>
        <p:spPr>
          <a:xfrm>
            <a:off x="1711846" y="4715904"/>
            <a:ext cx="828092" cy="828092"/>
          </a:xfrm>
          <a:prstGeom prst="ellipse">
            <a:avLst/>
          </a:prstGeom>
          <a:solidFill>
            <a:srgbClr val="9B1717"/>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r>
              <a:rPr lang="en-US" altLang="zh-CN" sz="2800" b="1" dirty="0">
                <a:solidFill>
                  <a:schemeClr val="bg1"/>
                </a:solidFill>
                <a:latin typeface="Arial" pitchFamily="34" charset="0"/>
                <a:cs typeface="Arial" pitchFamily="34" charset="0"/>
              </a:rPr>
              <a:t>3</a:t>
            </a:r>
            <a:endParaRPr lang="zh-CN" altLang="en-US" sz="2800" b="1" dirty="0" err="1">
              <a:solidFill>
                <a:schemeClr val="bg1"/>
              </a:solidFill>
              <a:latin typeface="Arial" pitchFamily="34" charset="0"/>
              <a:cs typeface="Arial" pitchFamily="34" charset="0"/>
            </a:endParaRPr>
          </a:p>
        </p:txBody>
      </p:sp>
      <p:sp>
        <p:nvSpPr>
          <p:cNvPr id="9" name="矩形: 剪去单角 8">
            <a:extLst>
              <a:ext uri="{FF2B5EF4-FFF2-40B4-BE49-F238E27FC236}">
                <a16:creationId xmlns:a16="http://schemas.microsoft.com/office/drawing/2014/main" id="{740B664C-6F77-4392-A4BD-5BDD283962A0}"/>
              </a:ext>
            </a:extLst>
          </p:cNvPr>
          <p:cNvSpPr/>
          <p:nvPr/>
        </p:nvSpPr>
        <p:spPr>
          <a:xfrm>
            <a:off x="2863974" y="2349674"/>
            <a:ext cx="5256584" cy="828092"/>
          </a:xfrm>
          <a:prstGeom prst="snip1Rect">
            <a:avLst/>
          </a:prstGeom>
          <a:solidFill>
            <a:srgbClr val="C00000"/>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r>
              <a:rPr lang="en-US" altLang="zh-CN" sz="1400" dirty="0"/>
              <a:t>The situation of stock market (expressed by the balance of Margin trading) has little influence on </a:t>
            </a:r>
            <a:r>
              <a:rPr lang="en-US" altLang="zh-CN" sz="1400" dirty="0" err="1"/>
              <a:t>Yu’e</a:t>
            </a:r>
            <a:r>
              <a:rPr lang="en-US" altLang="zh-CN" sz="1400" dirty="0"/>
              <a:t> Bao;</a:t>
            </a:r>
            <a:endParaRPr lang="zh-CN" altLang="zh-CN" sz="1400" dirty="0"/>
          </a:p>
        </p:txBody>
      </p:sp>
      <p:sp>
        <p:nvSpPr>
          <p:cNvPr id="10" name="矩形: 剪去单角 9">
            <a:extLst>
              <a:ext uri="{FF2B5EF4-FFF2-40B4-BE49-F238E27FC236}">
                <a16:creationId xmlns:a16="http://schemas.microsoft.com/office/drawing/2014/main" id="{7E95A838-9D6A-42D2-92D0-E0900CFD2B73}"/>
              </a:ext>
            </a:extLst>
          </p:cNvPr>
          <p:cNvSpPr/>
          <p:nvPr/>
        </p:nvSpPr>
        <p:spPr>
          <a:xfrm>
            <a:off x="2862386" y="3532789"/>
            <a:ext cx="5256584" cy="828092"/>
          </a:xfrm>
          <a:prstGeom prst="snip1Rect">
            <a:avLst/>
          </a:prstGeom>
          <a:solidFill>
            <a:srgbClr val="C00000"/>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r>
              <a:rPr lang="en-US" altLang="zh-CN" sz="1400" dirty="0"/>
              <a:t>Users of </a:t>
            </a:r>
            <a:r>
              <a:rPr lang="en-US" altLang="zh-CN" sz="1400" dirty="0" err="1"/>
              <a:t>Yu’e</a:t>
            </a:r>
            <a:r>
              <a:rPr lang="en-US" altLang="zh-CN" sz="1400" dirty="0"/>
              <a:t> Bao are not sensitive to the change of interest rate (expressed by </a:t>
            </a:r>
            <a:r>
              <a:rPr lang="en-US" altLang="zh-CN" sz="1400" dirty="0" err="1"/>
              <a:t>Shibor</a:t>
            </a:r>
            <a:r>
              <a:rPr lang="en-US" altLang="zh-CN" sz="1400" dirty="0"/>
              <a:t>);</a:t>
            </a:r>
            <a:endParaRPr lang="zh-CN" altLang="zh-CN" sz="1400" dirty="0"/>
          </a:p>
        </p:txBody>
      </p:sp>
      <p:sp>
        <p:nvSpPr>
          <p:cNvPr id="11" name="矩形: 剪去单角 10">
            <a:extLst>
              <a:ext uri="{FF2B5EF4-FFF2-40B4-BE49-F238E27FC236}">
                <a16:creationId xmlns:a16="http://schemas.microsoft.com/office/drawing/2014/main" id="{B8E81B42-E179-4EE0-9524-515298D6360C}"/>
              </a:ext>
            </a:extLst>
          </p:cNvPr>
          <p:cNvSpPr/>
          <p:nvPr/>
        </p:nvSpPr>
        <p:spPr>
          <a:xfrm>
            <a:off x="2862386" y="4715904"/>
            <a:ext cx="5256584" cy="828092"/>
          </a:xfrm>
          <a:prstGeom prst="snip1Rect">
            <a:avLst/>
          </a:prstGeom>
          <a:solidFill>
            <a:srgbClr val="C00000"/>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r>
              <a:rPr lang="en-US" altLang="zh-CN" sz="1400" dirty="0"/>
              <a:t>"Whether it's a holiday", "whether it's a weekend" and "whether it's a working day" are more significant Features.</a:t>
            </a:r>
            <a:endParaRPr lang="zh-CN" altLang="zh-CN" sz="1400" dirty="0"/>
          </a:p>
        </p:txBody>
      </p:sp>
    </p:spTree>
    <p:extLst>
      <p:ext uri="{BB962C8B-B14F-4D97-AF65-F5344CB8AC3E}">
        <p14:creationId xmlns:p14="http://schemas.microsoft.com/office/powerpoint/2010/main" val="281387331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z="2400" dirty="0"/>
              <a:t>5.2 Interpretation 1: Motivation of </a:t>
            </a:r>
            <a:r>
              <a:rPr lang="en-US" altLang="zh-CN" sz="2400" dirty="0" err="1"/>
              <a:t>Yu’e</a:t>
            </a:r>
            <a:r>
              <a:rPr lang="en-US" altLang="zh-CN" sz="2400" dirty="0"/>
              <a:t> Bao early users</a:t>
            </a:r>
            <a:endParaRPr lang="en-US" sz="2400" dirty="0"/>
          </a:p>
        </p:txBody>
      </p:sp>
      <p:sp>
        <p:nvSpPr>
          <p:cNvPr id="3" name="Text Placeholder 5"/>
          <p:cNvSpPr txBox="1">
            <a:spLocks/>
          </p:cNvSpPr>
          <p:nvPr/>
        </p:nvSpPr>
        <p:spPr>
          <a:xfrm>
            <a:off x="264840" y="998985"/>
            <a:ext cx="9151861" cy="3061418"/>
          </a:xfrm>
          <a:prstGeom prst="rect">
            <a:avLst/>
          </a:prstGeom>
        </p:spPr>
        <p:txBody>
          <a:bodyPr/>
          <a:lstStyle>
            <a:lvl1pPr marL="188568" indent="-188568" algn="l" defTabSz="957925" rtl="0" eaLnBrk="1" latinLnBrk="0" hangingPunct="1">
              <a:lnSpc>
                <a:spcPct val="90000"/>
              </a:lnSpc>
              <a:spcBef>
                <a:spcPts val="1467"/>
              </a:spcBef>
              <a:buClr>
                <a:schemeClr val="bg2"/>
              </a:buClr>
              <a:buSzPct val="100000"/>
              <a:buFont typeface="Arial" pitchFamily="34" charset="0"/>
              <a:buChar char="■"/>
              <a:defRPr sz="1700" kern="1200">
                <a:solidFill>
                  <a:schemeClr val="tx1"/>
                </a:solidFill>
                <a:latin typeface="Palatino Linotype" panose="02040502050505030304" pitchFamily="18" charset="0"/>
                <a:ea typeface="+mn-ea"/>
                <a:cs typeface="Arial" pitchFamily="34" charset="0"/>
              </a:defRPr>
            </a:lvl1pPr>
            <a:lvl2pPr marL="325695" indent="-134110" algn="l" defTabSz="957925" rtl="0" eaLnBrk="1" latinLnBrk="0" hangingPunct="1">
              <a:lnSpc>
                <a:spcPct val="90000"/>
              </a:lnSpc>
              <a:spcBef>
                <a:spcPts val="943"/>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2pPr>
            <a:lvl3pPr marL="512905" indent="-188568" algn="l" defTabSz="957925" rtl="0" eaLnBrk="1" latinLnBrk="0" hangingPunct="1">
              <a:lnSpc>
                <a:spcPct val="90000"/>
              </a:lnSpc>
              <a:spcBef>
                <a:spcPts val="629"/>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3pPr>
            <a:lvl4pPr marL="663759" indent="-143689" algn="l" defTabSz="957925" rtl="0" eaLnBrk="1" latinLnBrk="0" hangingPunct="1">
              <a:lnSpc>
                <a:spcPct val="90000"/>
              </a:lnSpc>
              <a:spcBef>
                <a:spcPts val="210"/>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4pPr>
            <a:lvl5pPr marL="807071" indent="-143312" algn="l" defTabSz="957925" rtl="0" eaLnBrk="1" latinLnBrk="0" hangingPunct="1">
              <a:lnSpc>
                <a:spcPct val="90000"/>
              </a:lnSpc>
              <a:spcBef>
                <a:spcPts val="105"/>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5pPr>
            <a:lvl6pPr marL="2634295"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3258"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2220"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1183"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r>
              <a:rPr lang="en-US" altLang="zh-CN" dirty="0"/>
              <a:t>Early users of the </a:t>
            </a:r>
            <a:r>
              <a:rPr lang="en-US" altLang="zh-CN" dirty="0" err="1"/>
              <a:t>Yuebao</a:t>
            </a:r>
            <a:r>
              <a:rPr lang="en-US" altLang="zh-CN" dirty="0"/>
              <a:t> mainly came from Alipay and Taobao users. </a:t>
            </a:r>
          </a:p>
          <a:p>
            <a:r>
              <a:rPr lang="en-US" altLang="zh-CN" dirty="0"/>
              <a:t>Most of the users mainly used </a:t>
            </a:r>
            <a:r>
              <a:rPr lang="en-US" altLang="zh-CN" dirty="0" err="1"/>
              <a:t>Yuebao</a:t>
            </a:r>
            <a:r>
              <a:rPr lang="en-US" altLang="zh-CN" dirty="0"/>
              <a:t> as a cash management tool.</a:t>
            </a:r>
          </a:p>
          <a:p>
            <a:r>
              <a:rPr lang="en-US" altLang="zh-CN" dirty="0" err="1"/>
              <a:t>Yu’e</a:t>
            </a:r>
            <a:r>
              <a:rPr lang="en-US" altLang="zh-CN" dirty="0"/>
              <a:t> Bao's early substitutes were not other financial instruments, but mainly bank deposits and cash. </a:t>
            </a:r>
            <a:r>
              <a:rPr lang="en-US" altLang="zh-CN" dirty="0" err="1"/>
              <a:t>Yu’e</a:t>
            </a:r>
            <a:r>
              <a:rPr lang="en-US" altLang="zh-CN" dirty="0"/>
              <a:t> Bao has higher yield and more convenient access. </a:t>
            </a:r>
          </a:p>
          <a:p>
            <a:r>
              <a:rPr lang="en-US" altLang="zh-CN" dirty="0"/>
              <a:t>Therefore, the purchase and redemption volume of </a:t>
            </a:r>
            <a:r>
              <a:rPr lang="en-US" altLang="zh-CN" dirty="0" err="1"/>
              <a:t>Yu’e</a:t>
            </a:r>
            <a:r>
              <a:rPr lang="en-US" altLang="zh-CN" dirty="0"/>
              <a:t> Bao in 2014 was less affected by other financial products. </a:t>
            </a:r>
            <a:endParaRPr lang="zh-CN" altLang="zh-CN" dirty="0"/>
          </a:p>
        </p:txBody>
      </p:sp>
      <p:graphicFrame>
        <p:nvGraphicFramePr>
          <p:cNvPr id="12" name="图表 11">
            <a:extLst>
              <a:ext uri="{FF2B5EF4-FFF2-40B4-BE49-F238E27FC236}">
                <a16:creationId xmlns:a16="http://schemas.microsoft.com/office/drawing/2014/main" id="{EEF21FBC-B3A6-4A65-A570-C5271A192346}"/>
              </a:ext>
            </a:extLst>
          </p:cNvPr>
          <p:cNvGraphicFramePr>
            <a:graphicFrameLocks/>
          </p:cNvGraphicFramePr>
          <p:nvPr/>
        </p:nvGraphicFramePr>
        <p:xfrm>
          <a:off x="1636781" y="3217293"/>
          <a:ext cx="6624228" cy="324036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17683256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 5.3 Interpretation 2: Destination of the redemption</a:t>
            </a:r>
            <a:endParaRPr lang="en-US" dirty="0"/>
          </a:p>
        </p:txBody>
      </p:sp>
      <p:sp>
        <p:nvSpPr>
          <p:cNvPr id="3" name="Text Placeholder 5"/>
          <p:cNvSpPr txBox="1">
            <a:spLocks/>
          </p:cNvSpPr>
          <p:nvPr/>
        </p:nvSpPr>
        <p:spPr>
          <a:xfrm>
            <a:off x="264840" y="998985"/>
            <a:ext cx="9151861" cy="2322797"/>
          </a:xfrm>
          <a:prstGeom prst="rect">
            <a:avLst/>
          </a:prstGeom>
        </p:spPr>
        <p:txBody>
          <a:bodyPr/>
          <a:lstStyle>
            <a:lvl1pPr marL="188568" indent="-188568" algn="l" defTabSz="957925" rtl="0" eaLnBrk="1" latinLnBrk="0" hangingPunct="1">
              <a:lnSpc>
                <a:spcPct val="90000"/>
              </a:lnSpc>
              <a:spcBef>
                <a:spcPts val="1467"/>
              </a:spcBef>
              <a:buClr>
                <a:schemeClr val="bg2"/>
              </a:buClr>
              <a:buSzPct val="100000"/>
              <a:buFont typeface="Arial" pitchFamily="34" charset="0"/>
              <a:buChar char="■"/>
              <a:defRPr sz="1700" kern="1200">
                <a:solidFill>
                  <a:schemeClr val="tx1"/>
                </a:solidFill>
                <a:latin typeface="Palatino Linotype" panose="02040502050505030304" pitchFamily="18" charset="0"/>
                <a:ea typeface="+mn-ea"/>
                <a:cs typeface="Arial" pitchFamily="34" charset="0"/>
              </a:defRPr>
            </a:lvl1pPr>
            <a:lvl2pPr marL="325695" indent="-134110" algn="l" defTabSz="957925" rtl="0" eaLnBrk="1" latinLnBrk="0" hangingPunct="1">
              <a:lnSpc>
                <a:spcPct val="90000"/>
              </a:lnSpc>
              <a:spcBef>
                <a:spcPts val="943"/>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2pPr>
            <a:lvl3pPr marL="512905" indent="-188568" algn="l" defTabSz="957925" rtl="0" eaLnBrk="1" latinLnBrk="0" hangingPunct="1">
              <a:lnSpc>
                <a:spcPct val="90000"/>
              </a:lnSpc>
              <a:spcBef>
                <a:spcPts val="629"/>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3pPr>
            <a:lvl4pPr marL="663759" indent="-143689" algn="l" defTabSz="957925" rtl="0" eaLnBrk="1" latinLnBrk="0" hangingPunct="1">
              <a:lnSpc>
                <a:spcPct val="90000"/>
              </a:lnSpc>
              <a:spcBef>
                <a:spcPts val="210"/>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4pPr>
            <a:lvl5pPr marL="807071" indent="-143312" algn="l" defTabSz="957925" rtl="0" eaLnBrk="1" latinLnBrk="0" hangingPunct="1">
              <a:lnSpc>
                <a:spcPct val="90000"/>
              </a:lnSpc>
              <a:spcBef>
                <a:spcPts val="105"/>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5pPr>
            <a:lvl6pPr marL="2634295"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3258"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2220"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1183"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r>
              <a:rPr lang="en-US" altLang="zh-CN" dirty="0"/>
              <a:t>Users can choose to use the amount of </a:t>
            </a:r>
            <a:r>
              <a:rPr lang="en-US" altLang="zh-CN" dirty="0" err="1"/>
              <a:t>Yuebao</a:t>
            </a:r>
            <a:r>
              <a:rPr lang="en-US" altLang="zh-CN" dirty="0"/>
              <a:t> directly to make payment when they use Alipay payment. </a:t>
            </a:r>
          </a:p>
          <a:p>
            <a:r>
              <a:rPr lang="en-US" altLang="zh-CN" dirty="0"/>
              <a:t>According to the 2014 big data report of </a:t>
            </a:r>
            <a:r>
              <a:rPr lang="en-US" altLang="zh-CN" dirty="0" err="1"/>
              <a:t>Yu’e</a:t>
            </a:r>
            <a:r>
              <a:rPr lang="en-US" altLang="zh-CN" dirty="0"/>
              <a:t> Bao, 75% of the outflow of </a:t>
            </a:r>
            <a:r>
              <a:rPr lang="en-US" altLang="zh-CN" dirty="0" err="1"/>
              <a:t>Yu’e</a:t>
            </a:r>
            <a:r>
              <a:rPr lang="en-US" altLang="zh-CN" dirty="0"/>
              <a:t> Bao's funds is used for consumption, and only 25% is used for withdrawal to bank cards. </a:t>
            </a:r>
          </a:p>
          <a:p>
            <a:r>
              <a:rPr lang="en-US" altLang="zh-CN" dirty="0"/>
              <a:t>This explains why features such as "whether it's a holiday", "whether it's a weekend", "whether it's a working day" that have a great impact on consumption also have a great impact on redemption. And why the stock market has little impact on </a:t>
            </a:r>
            <a:r>
              <a:rPr lang="en-US" altLang="zh-CN" dirty="0" err="1"/>
              <a:t>Yu’e</a:t>
            </a:r>
            <a:r>
              <a:rPr lang="en-US" altLang="zh-CN" dirty="0"/>
              <a:t> Bao in 2014.</a:t>
            </a:r>
            <a:endParaRPr lang="zh-CN" altLang="zh-CN" dirty="0"/>
          </a:p>
        </p:txBody>
      </p:sp>
      <p:graphicFrame>
        <p:nvGraphicFramePr>
          <p:cNvPr id="5" name="图表 4">
            <a:extLst>
              <a:ext uri="{FF2B5EF4-FFF2-40B4-BE49-F238E27FC236}">
                <a16:creationId xmlns:a16="http://schemas.microsoft.com/office/drawing/2014/main" id="{633A3406-41F4-444B-B7E9-55518C7C232F}"/>
              </a:ext>
            </a:extLst>
          </p:cNvPr>
          <p:cNvGraphicFramePr>
            <a:graphicFrameLocks/>
          </p:cNvGraphicFramePr>
          <p:nvPr/>
        </p:nvGraphicFramePr>
        <p:xfrm>
          <a:off x="2662895" y="3819525"/>
          <a:ext cx="4572000" cy="2743200"/>
        </p:xfrm>
        <a:graphic>
          <a:graphicData uri="http://schemas.openxmlformats.org/drawingml/2006/chart">
            <c:chart xmlns:c="http://schemas.openxmlformats.org/drawingml/2006/chart" xmlns:r="http://schemas.openxmlformats.org/officeDocument/2006/relationships" r:id="rId2"/>
          </a:graphicData>
        </a:graphic>
      </p:graphicFrame>
      <p:sp>
        <p:nvSpPr>
          <p:cNvPr id="4" name="矩形 3">
            <a:extLst>
              <a:ext uri="{FF2B5EF4-FFF2-40B4-BE49-F238E27FC236}">
                <a16:creationId xmlns:a16="http://schemas.microsoft.com/office/drawing/2014/main" id="{042ACEE2-9FCF-4CFD-8FA6-FF97A3558D9E}"/>
              </a:ext>
            </a:extLst>
          </p:cNvPr>
          <p:cNvSpPr/>
          <p:nvPr/>
        </p:nvSpPr>
        <p:spPr>
          <a:xfrm>
            <a:off x="3221499" y="3457858"/>
            <a:ext cx="3454792" cy="369332"/>
          </a:xfrm>
          <a:prstGeom prst="rect">
            <a:avLst/>
          </a:prstGeom>
        </p:spPr>
        <p:txBody>
          <a:bodyPr wrap="none">
            <a:spAutoFit/>
          </a:bodyPr>
          <a:lstStyle/>
          <a:p>
            <a:r>
              <a:rPr lang="en-US" altLang="zh-CN" sz="1800" b="1" dirty="0"/>
              <a:t>Destination of the redemption</a:t>
            </a:r>
            <a:endParaRPr lang="zh-CN" altLang="en-US" sz="1800" b="1" dirty="0"/>
          </a:p>
        </p:txBody>
      </p:sp>
    </p:spTree>
    <p:extLst>
      <p:ext uri="{BB962C8B-B14F-4D97-AF65-F5344CB8AC3E}">
        <p14:creationId xmlns:p14="http://schemas.microsoft.com/office/powerpoint/2010/main" val="345315819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 5.4 Summary, Prospect and Improvement</a:t>
            </a:r>
            <a:endParaRPr lang="en-US" dirty="0"/>
          </a:p>
        </p:txBody>
      </p:sp>
      <p:sp>
        <p:nvSpPr>
          <p:cNvPr id="3" name="Text Placeholder 5"/>
          <p:cNvSpPr txBox="1">
            <a:spLocks/>
          </p:cNvSpPr>
          <p:nvPr/>
        </p:nvSpPr>
        <p:spPr>
          <a:xfrm>
            <a:off x="264840" y="998985"/>
            <a:ext cx="9295878" cy="3438921"/>
          </a:xfrm>
          <a:prstGeom prst="rect">
            <a:avLst/>
          </a:prstGeom>
        </p:spPr>
        <p:txBody>
          <a:bodyPr/>
          <a:lstStyle>
            <a:lvl1pPr marL="188568" indent="-188568" algn="l" defTabSz="957925" rtl="0" eaLnBrk="1" latinLnBrk="0" hangingPunct="1">
              <a:lnSpc>
                <a:spcPct val="90000"/>
              </a:lnSpc>
              <a:spcBef>
                <a:spcPts val="1467"/>
              </a:spcBef>
              <a:buClr>
                <a:schemeClr val="bg2"/>
              </a:buClr>
              <a:buSzPct val="100000"/>
              <a:buFont typeface="Arial" pitchFamily="34" charset="0"/>
              <a:buChar char="■"/>
              <a:defRPr sz="1700" kern="1200">
                <a:solidFill>
                  <a:schemeClr val="tx1"/>
                </a:solidFill>
                <a:latin typeface="Palatino Linotype" panose="02040502050505030304" pitchFamily="18" charset="0"/>
                <a:ea typeface="+mn-ea"/>
                <a:cs typeface="Arial" pitchFamily="34" charset="0"/>
              </a:defRPr>
            </a:lvl1pPr>
            <a:lvl2pPr marL="325695" indent="-134110" algn="l" defTabSz="957925" rtl="0" eaLnBrk="1" latinLnBrk="0" hangingPunct="1">
              <a:lnSpc>
                <a:spcPct val="90000"/>
              </a:lnSpc>
              <a:spcBef>
                <a:spcPts val="943"/>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2pPr>
            <a:lvl3pPr marL="512905" indent="-188568" algn="l" defTabSz="957925" rtl="0" eaLnBrk="1" latinLnBrk="0" hangingPunct="1">
              <a:lnSpc>
                <a:spcPct val="90000"/>
              </a:lnSpc>
              <a:spcBef>
                <a:spcPts val="629"/>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3pPr>
            <a:lvl4pPr marL="663759" indent="-143689" algn="l" defTabSz="957925" rtl="0" eaLnBrk="1" latinLnBrk="0" hangingPunct="1">
              <a:lnSpc>
                <a:spcPct val="90000"/>
              </a:lnSpc>
              <a:spcBef>
                <a:spcPts val="210"/>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4pPr>
            <a:lvl5pPr marL="807071" indent="-143312" algn="l" defTabSz="957925" rtl="0" eaLnBrk="1" latinLnBrk="0" hangingPunct="1">
              <a:lnSpc>
                <a:spcPct val="90000"/>
              </a:lnSpc>
              <a:spcBef>
                <a:spcPts val="105"/>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5pPr>
            <a:lvl6pPr marL="2634295"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3258"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2220"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1183"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r>
              <a:rPr lang="en-US" altLang="zh-CN" dirty="0"/>
              <a:t>Since both the training data and the test data are 2014 data, the conclusion drawn is quite different from the initial guess.</a:t>
            </a:r>
          </a:p>
          <a:p>
            <a:r>
              <a:rPr lang="en-US" altLang="zh-CN" dirty="0"/>
              <a:t>On the one hand, we believe that the influencing factors of </a:t>
            </a:r>
            <a:r>
              <a:rPr lang="en-US" altLang="zh-CN" dirty="0" err="1"/>
              <a:t>Yu’e</a:t>
            </a:r>
            <a:r>
              <a:rPr lang="en-US" altLang="zh-CN" dirty="0"/>
              <a:t> Bao purchase and redemption data in the future will change greatly with the change of user composition. For the research of the problem, it is worth doing more exploration in the future (if data available). </a:t>
            </a:r>
          </a:p>
          <a:p>
            <a:r>
              <a:rPr lang="en-US" altLang="zh-CN" dirty="0"/>
              <a:t>On the other hand, after finding the data results and expectations are quite different, we actively look for the reasons from three aspects: data, model and fact, and finally find out the reasons successfully. We also feel that data analysis needs to be combined with the actual basic situation, and it is meaningless to do data analysis away from the fundamental information.</a:t>
            </a:r>
            <a:endParaRPr lang="zh-CN" altLang="zh-CN" dirty="0"/>
          </a:p>
        </p:txBody>
      </p:sp>
    </p:spTree>
    <p:extLst>
      <p:ext uri="{BB962C8B-B14F-4D97-AF65-F5344CB8AC3E}">
        <p14:creationId xmlns:p14="http://schemas.microsoft.com/office/powerpoint/2010/main" val="364187795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 References</a:t>
            </a:r>
            <a:endParaRPr lang="en-US" dirty="0"/>
          </a:p>
        </p:txBody>
      </p:sp>
      <p:sp>
        <p:nvSpPr>
          <p:cNvPr id="3" name="Text Placeholder 5"/>
          <p:cNvSpPr txBox="1">
            <a:spLocks/>
          </p:cNvSpPr>
          <p:nvPr/>
        </p:nvSpPr>
        <p:spPr>
          <a:xfrm>
            <a:off x="264840" y="1143001"/>
            <a:ext cx="9295878" cy="5419141"/>
          </a:xfrm>
          <a:prstGeom prst="rect">
            <a:avLst/>
          </a:prstGeom>
        </p:spPr>
        <p:txBody>
          <a:bodyPr/>
          <a:lstStyle>
            <a:lvl1pPr marL="188568" indent="-188568" algn="l" defTabSz="957925" rtl="0" eaLnBrk="1" latinLnBrk="0" hangingPunct="1">
              <a:lnSpc>
                <a:spcPct val="90000"/>
              </a:lnSpc>
              <a:spcBef>
                <a:spcPts val="1467"/>
              </a:spcBef>
              <a:buClr>
                <a:schemeClr val="bg2"/>
              </a:buClr>
              <a:buSzPct val="100000"/>
              <a:buFont typeface="Arial" pitchFamily="34" charset="0"/>
              <a:buChar char="■"/>
              <a:defRPr sz="1700" kern="1200">
                <a:solidFill>
                  <a:schemeClr val="tx1"/>
                </a:solidFill>
                <a:latin typeface="Palatino Linotype" panose="02040502050505030304" pitchFamily="18" charset="0"/>
                <a:ea typeface="+mn-ea"/>
                <a:cs typeface="Arial" pitchFamily="34" charset="0"/>
              </a:defRPr>
            </a:lvl1pPr>
            <a:lvl2pPr marL="325695" indent="-134110" algn="l" defTabSz="957925" rtl="0" eaLnBrk="1" latinLnBrk="0" hangingPunct="1">
              <a:lnSpc>
                <a:spcPct val="90000"/>
              </a:lnSpc>
              <a:spcBef>
                <a:spcPts val="943"/>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2pPr>
            <a:lvl3pPr marL="512905" indent="-188568" algn="l" defTabSz="957925" rtl="0" eaLnBrk="1" latinLnBrk="0" hangingPunct="1">
              <a:lnSpc>
                <a:spcPct val="90000"/>
              </a:lnSpc>
              <a:spcBef>
                <a:spcPts val="629"/>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3pPr>
            <a:lvl4pPr marL="663759" indent="-143689" algn="l" defTabSz="957925" rtl="0" eaLnBrk="1" latinLnBrk="0" hangingPunct="1">
              <a:lnSpc>
                <a:spcPct val="90000"/>
              </a:lnSpc>
              <a:spcBef>
                <a:spcPts val="210"/>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4pPr>
            <a:lvl5pPr marL="807071" indent="-143312" algn="l" defTabSz="957925" rtl="0" eaLnBrk="1" latinLnBrk="0" hangingPunct="1">
              <a:lnSpc>
                <a:spcPct val="90000"/>
              </a:lnSpc>
              <a:spcBef>
                <a:spcPts val="105"/>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5pPr>
            <a:lvl6pPr marL="2634295"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3258"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2220"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1183"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r>
              <a:rPr lang="en-US" altLang="zh-CN" dirty="0"/>
              <a:t>[1] </a:t>
            </a:r>
            <a:r>
              <a:rPr lang="en-US" altLang="zh-CN" dirty="0" err="1"/>
              <a:t>Belsley</a:t>
            </a:r>
            <a:r>
              <a:rPr lang="en-US" altLang="zh-CN" dirty="0"/>
              <a:t>, D. A. (1991). Conditioning diagnostics: Collinearity and weak data in regression (No. 519.536 B452). New York: Wiley.</a:t>
            </a:r>
            <a:endParaRPr lang="zh-CN" altLang="zh-CN" dirty="0"/>
          </a:p>
          <a:p>
            <a:r>
              <a:rPr lang="en-US" altLang="zh-CN" dirty="0"/>
              <a:t>[2] Chatterjee, S., &amp; Price, B. (1977). Selection of variables in a regression equation. Regression Analysis by Example, 201-203.</a:t>
            </a:r>
            <a:endParaRPr lang="zh-CN" altLang="zh-CN" dirty="0"/>
          </a:p>
          <a:p>
            <a:r>
              <a:rPr lang="en-US" altLang="zh-CN" dirty="0"/>
              <a:t>[3] Scott M Lundberg and </a:t>
            </a:r>
            <a:r>
              <a:rPr lang="en-US" altLang="zh-CN" dirty="0" err="1"/>
              <a:t>Su</a:t>
            </a:r>
            <a:r>
              <a:rPr lang="en-US" altLang="zh-CN" dirty="0"/>
              <a:t>-In Lee. 2017. A Unified Approach to Interpret- </a:t>
            </a:r>
            <a:r>
              <a:rPr lang="en-US" altLang="zh-CN" dirty="0" err="1"/>
              <a:t>ing</a:t>
            </a:r>
            <a:r>
              <a:rPr lang="en-US" altLang="zh-CN" dirty="0"/>
              <a:t> Model Predictions. In Advances in Neural Information Processing Sys- </a:t>
            </a:r>
            <a:r>
              <a:rPr lang="en-US" altLang="zh-CN" dirty="0" err="1"/>
              <a:t>tems</a:t>
            </a:r>
            <a:r>
              <a:rPr lang="en-US" altLang="zh-CN" dirty="0"/>
              <a:t> 30. Curran Associates, Inc., 4768–4777. http://</a:t>
            </a:r>
            <a:r>
              <a:rPr lang="en-US" altLang="zh-CN" dirty="0" err="1"/>
              <a:t>papers.nips.cc</a:t>
            </a:r>
            <a:r>
              <a:rPr lang="en-US" altLang="zh-CN" dirty="0"/>
              <a:t>/paper/ 7062- a- unified- approach- to- interpreting- model- </a:t>
            </a:r>
            <a:r>
              <a:rPr lang="en-US" altLang="zh-CN" dirty="0" err="1"/>
              <a:t>predictions.pdf</a:t>
            </a:r>
            <a:endParaRPr lang="zh-CN" altLang="zh-CN" dirty="0"/>
          </a:p>
          <a:p>
            <a:r>
              <a:rPr lang="en-US" altLang="zh-CN" dirty="0"/>
              <a:t>[4] Scott M Lundberg, </a:t>
            </a:r>
            <a:r>
              <a:rPr lang="en-US" altLang="zh-CN" dirty="0" err="1"/>
              <a:t>Bala</a:t>
            </a:r>
            <a:r>
              <a:rPr lang="en-US" altLang="zh-CN" dirty="0"/>
              <a:t> Nair, Monica S </a:t>
            </a:r>
            <a:r>
              <a:rPr lang="en-US" altLang="zh-CN" dirty="0" err="1"/>
              <a:t>Vavilala</a:t>
            </a:r>
            <a:r>
              <a:rPr lang="en-US" altLang="zh-CN" dirty="0"/>
              <a:t>, Mayumi </a:t>
            </a:r>
            <a:r>
              <a:rPr lang="en-US" altLang="zh-CN" dirty="0" err="1"/>
              <a:t>Horibe</a:t>
            </a:r>
            <a:r>
              <a:rPr lang="en-US" altLang="zh-CN" dirty="0"/>
              <a:t>, Michael J </a:t>
            </a:r>
            <a:r>
              <a:rPr lang="en-US" altLang="zh-CN" dirty="0" err="1"/>
              <a:t>Eisses</a:t>
            </a:r>
            <a:r>
              <a:rPr lang="en-US" altLang="zh-CN" dirty="0"/>
              <a:t>, Trevor Adams, David E Liston, Daniel King-Wai Low, Shu-Fang New- man, Jerry Kim, et al. 2017. Explainable machine learning predictions to help anesthesiologists prevent hypoxemia during surgery. </a:t>
            </a:r>
            <a:r>
              <a:rPr lang="en-US" altLang="zh-CN" dirty="0" err="1"/>
              <a:t>bioRxiv</a:t>
            </a:r>
            <a:r>
              <a:rPr lang="en-US" altLang="zh-CN" dirty="0"/>
              <a:t> (2017), 206540.</a:t>
            </a:r>
            <a:endParaRPr lang="zh-CN" altLang="zh-CN" dirty="0"/>
          </a:p>
          <a:p>
            <a:r>
              <a:rPr lang="en-US" altLang="zh-CN" dirty="0"/>
              <a:t>[5] Lundberg, S. M., </a:t>
            </a:r>
            <a:r>
              <a:rPr lang="en-US" altLang="zh-CN" dirty="0" err="1"/>
              <a:t>Erion</a:t>
            </a:r>
            <a:r>
              <a:rPr lang="en-US" altLang="zh-CN" dirty="0"/>
              <a:t>, G. G., &amp; Lee, S. I. (2018). Consistent individualized feature attribution for tree ensembles. </a:t>
            </a:r>
            <a:r>
              <a:rPr lang="en-US" altLang="zh-CN" dirty="0" err="1"/>
              <a:t>arXiv</a:t>
            </a:r>
            <a:r>
              <a:rPr lang="en-US" altLang="zh-CN" dirty="0"/>
              <a:t> preprint arXiv:1802.03888.</a:t>
            </a:r>
            <a:endParaRPr lang="zh-CN" altLang="zh-CN" dirty="0"/>
          </a:p>
          <a:p>
            <a:r>
              <a:rPr lang="en-US" altLang="zh-CN" dirty="0"/>
              <a:t>[6] Lundberg, S. M., &amp; Lee, S. I. (2017). A unified approach to interpreting model predictions. In Advances in Neural Information Processing Systems (pp. 4765-4774).</a:t>
            </a:r>
            <a:endParaRPr lang="zh-CN" altLang="zh-CN" dirty="0"/>
          </a:p>
          <a:p>
            <a:r>
              <a:rPr lang="en-US" altLang="zh-CN" dirty="0"/>
              <a:t>[7] Altmann, A., </a:t>
            </a:r>
            <a:r>
              <a:rPr lang="en-US" altLang="zh-CN" dirty="0" err="1"/>
              <a:t>Toloşi</a:t>
            </a:r>
            <a:r>
              <a:rPr lang="en-US" altLang="zh-CN" dirty="0"/>
              <a:t>, L., Sander, O., &amp; </a:t>
            </a:r>
            <a:r>
              <a:rPr lang="en-US" altLang="zh-CN" dirty="0" err="1"/>
              <a:t>Lengauer</a:t>
            </a:r>
            <a:r>
              <a:rPr lang="en-US" altLang="zh-CN" dirty="0"/>
              <a:t>, T. (2010). Permutation importance: a corrected feature importance measure. Bioinformatics, 26(10), 1340-1347.</a:t>
            </a:r>
            <a:endParaRPr lang="zh-CN" altLang="zh-CN" dirty="0"/>
          </a:p>
        </p:txBody>
      </p:sp>
    </p:spTree>
    <p:extLst>
      <p:ext uri="{BB962C8B-B14F-4D97-AF65-F5344CB8AC3E}">
        <p14:creationId xmlns:p14="http://schemas.microsoft.com/office/powerpoint/2010/main" val="356138849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 References</a:t>
            </a:r>
            <a:endParaRPr lang="en-US" dirty="0"/>
          </a:p>
        </p:txBody>
      </p:sp>
      <p:sp>
        <p:nvSpPr>
          <p:cNvPr id="3" name="Text Placeholder 5"/>
          <p:cNvSpPr txBox="1">
            <a:spLocks/>
          </p:cNvSpPr>
          <p:nvPr/>
        </p:nvSpPr>
        <p:spPr>
          <a:xfrm>
            <a:off x="264840" y="1070993"/>
            <a:ext cx="9295878" cy="5419141"/>
          </a:xfrm>
          <a:prstGeom prst="rect">
            <a:avLst/>
          </a:prstGeom>
        </p:spPr>
        <p:txBody>
          <a:bodyPr/>
          <a:lstStyle>
            <a:lvl1pPr marL="188568" indent="-188568" algn="l" defTabSz="957925" rtl="0" eaLnBrk="1" latinLnBrk="0" hangingPunct="1">
              <a:lnSpc>
                <a:spcPct val="90000"/>
              </a:lnSpc>
              <a:spcBef>
                <a:spcPts val="1467"/>
              </a:spcBef>
              <a:buClr>
                <a:schemeClr val="bg2"/>
              </a:buClr>
              <a:buSzPct val="100000"/>
              <a:buFont typeface="Arial" pitchFamily="34" charset="0"/>
              <a:buChar char="■"/>
              <a:defRPr sz="1700" kern="1200">
                <a:solidFill>
                  <a:schemeClr val="tx1"/>
                </a:solidFill>
                <a:latin typeface="Palatino Linotype" panose="02040502050505030304" pitchFamily="18" charset="0"/>
                <a:ea typeface="+mn-ea"/>
                <a:cs typeface="Arial" pitchFamily="34" charset="0"/>
              </a:defRPr>
            </a:lvl1pPr>
            <a:lvl2pPr marL="325695" indent="-134110" algn="l" defTabSz="957925" rtl="0" eaLnBrk="1" latinLnBrk="0" hangingPunct="1">
              <a:lnSpc>
                <a:spcPct val="90000"/>
              </a:lnSpc>
              <a:spcBef>
                <a:spcPts val="943"/>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2pPr>
            <a:lvl3pPr marL="512905" indent="-188568" algn="l" defTabSz="957925" rtl="0" eaLnBrk="1" latinLnBrk="0" hangingPunct="1">
              <a:lnSpc>
                <a:spcPct val="90000"/>
              </a:lnSpc>
              <a:spcBef>
                <a:spcPts val="629"/>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3pPr>
            <a:lvl4pPr marL="663759" indent="-143689" algn="l" defTabSz="957925" rtl="0" eaLnBrk="1" latinLnBrk="0" hangingPunct="1">
              <a:lnSpc>
                <a:spcPct val="90000"/>
              </a:lnSpc>
              <a:spcBef>
                <a:spcPts val="210"/>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4pPr>
            <a:lvl5pPr marL="807071" indent="-143312" algn="l" defTabSz="957925" rtl="0" eaLnBrk="1" latinLnBrk="0" hangingPunct="1">
              <a:lnSpc>
                <a:spcPct val="90000"/>
              </a:lnSpc>
              <a:spcBef>
                <a:spcPts val="105"/>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5pPr>
            <a:lvl6pPr marL="2634295"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3258"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2220"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1183"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r>
              <a:rPr lang="en-US" altLang="zh-CN" dirty="0"/>
              <a:t>[8] </a:t>
            </a:r>
            <a:r>
              <a:rPr lang="en-US" altLang="zh-CN" dirty="0" err="1"/>
              <a:t>Achard,S</a:t>
            </a:r>
            <a:r>
              <a:rPr lang="en-US" altLang="zh-CN" dirty="0"/>
              <a:t>. et al. (2005) Criteria based on mutual information minimization for blind source separation in post nonlinear mixtures. Signal Processing, 85, 965–974.</a:t>
            </a:r>
            <a:endParaRPr lang="zh-CN" altLang="zh-CN" dirty="0"/>
          </a:p>
          <a:p>
            <a:r>
              <a:rPr lang="en-US" altLang="zh-CN" dirty="0"/>
              <a:t>[9] </a:t>
            </a:r>
            <a:r>
              <a:rPr lang="en-US" altLang="zh-CN" dirty="0" err="1"/>
              <a:t>Strobl,C</a:t>
            </a:r>
            <a:r>
              <a:rPr lang="en-US" altLang="zh-CN" dirty="0"/>
              <a:t>. et al. (2007) Bias in random forest variable importance measures: Illustrations, sources and a solution. BMC Bioinformatics, 8, 25.</a:t>
            </a:r>
            <a:endParaRPr lang="zh-CN" altLang="zh-CN" dirty="0"/>
          </a:p>
          <a:p>
            <a:r>
              <a:rPr lang="en-US" altLang="zh-CN" dirty="0"/>
              <a:t>[10] </a:t>
            </a:r>
            <a:r>
              <a:rPr lang="en-US" altLang="zh-CN" dirty="0" err="1"/>
              <a:t>Guyon,I</a:t>
            </a:r>
            <a:r>
              <a:rPr lang="en-US" altLang="zh-CN" dirty="0"/>
              <a:t>. and </a:t>
            </a:r>
            <a:r>
              <a:rPr lang="en-US" altLang="zh-CN" dirty="0" err="1"/>
              <a:t>Elisseeff,A</a:t>
            </a:r>
            <a:r>
              <a:rPr lang="en-US" altLang="zh-CN" dirty="0"/>
              <a:t>. (2003) An introduction to variable and feature selection. J. Mach. Learn. Res., 3, 1157–1182.</a:t>
            </a:r>
          </a:p>
          <a:p>
            <a:r>
              <a:rPr lang="en-US" altLang="zh-CN" dirty="0"/>
              <a:t>[11] </a:t>
            </a:r>
            <a:r>
              <a:rPr lang="en-US" altLang="zh-CN" dirty="0" err="1"/>
              <a:t>Breiman,L</a:t>
            </a:r>
            <a:r>
              <a:rPr lang="en-US" altLang="zh-CN" dirty="0"/>
              <a:t>. et al. (1984) Classification and regression trees. Wadsworth &amp; Brooks/Cole Advanced Books &amp; Software, Monterey, CA.</a:t>
            </a:r>
            <a:endParaRPr lang="zh-CN" altLang="zh-CN" dirty="0"/>
          </a:p>
          <a:p>
            <a:r>
              <a:rPr lang="en-US" altLang="zh-CN" dirty="0"/>
              <a:t>[12] </a:t>
            </a:r>
            <a:r>
              <a:rPr lang="en-US" altLang="zh-CN" dirty="0" err="1"/>
              <a:t>Breiman,L</a:t>
            </a:r>
            <a:r>
              <a:rPr lang="en-US" altLang="zh-CN" dirty="0"/>
              <a:t>. (2001) Random Forests. Mach. Learn., 45, 5–32.</a:t>
            </a:r>
            <a:endParaRPr lang="zh-CN" altLang="zh-CN" dirty="0"/>
          </a:p>
          <a:p>
            <a:r>
              <a:rPr lang="en-US" altLang="zh-CN" dirty="0"/>
              <a:t>[13] </a:t>
            </a:r>
            <a:r>
              <a:rPr lang="en-US" altLang="zh-CN" dirty="0" err="1"/>
              <a:t>Guyon,I</a:t>
            </a:r>
            <a:r>
              <a:rPr lang="en-US" altLang="zh-CN" dirty="0"/>
              <a:t>. and </a:t>
            </a:r>
            <a:r>
              <a:rPr lang="en-US" altLang="zh-CN" dirty="0" err="1"/>
              <a:t>Elisseeff,A</a:t>
            </a:r>
            <a:r>
              <a:rPr lang="en-US" altLang="zh-CN" dirty="0"/>
              <a:t>. (2003) An introduction to variable and feature selection. J. Mach. Learn. Res., 3, 1157–1182.</a:t>
            </a:r>
          </a:p>
          <a:p>
            <a:r>
              <a:rPr lang="en-US" dirty="0"/>
              <a:t>[14] Chen, T., &amp; </a:t>
            </a:r>
            <a:r>
              <a:rPr lang="en-US" dirty="0" err="1"/>
              <a:t>Guestrin</a:t>
            </a:r>
            <a:r>
              <a:rPr lang="en-US" dirty="0"/>
              <a:t>, C. (2016, August). </a:t>
            </a:r>
            <a:r>
              <a:rPr lang="en-US" dirty="0" err="1"/>
              <a:t>Xgboost</a:t>
            </a:r>
            <a:r>
              <a:rPr lang="en-US" dirty="0"/>
              <a:t>: A scalable tree boosting system. In Proceedings of the 22nd </a:t>
            </a:r>
            <a:r>
              <a:rPr lang="en-US" dirty="0" err="1"/>
              <a:t>acm</a:t>
            </a:r>
            <a:r>
              <a:rPr lang="en-US" dirty="0"/>
              <a:t> </a:t>
            </a:r>
            <a:r>
              <a:rPr lang="en-US" dirty="0" err="1"/>
              <a:t>sigkdd</a:t>
            </a:r>
            <a:r>
              <a:rPr lang="en-US" dirty="0"/>
              <a:t> international conference on knowledge discovery and data mining (pp. 785-794). ACM.</a:t>
            </a:r>
          </a:p>
          <a:p>
            <a:r>
              <a:rPr lang="en-US" dirty="0"/>
              <a:t>[15] Chen, T., He, T., </a:t>
            </a:r>
            <a:r>
              <a:rPr lang="en-US" dirty="0" err="1"/>
              <a:t>Benesty</a:t>
            </a:r>
            <a:r>
              <a:rPr lang="en-US" dirty="0"/>
              <a:t>, M., </a:t>
            </a:r>
            <a:r>
              <a:rPr lang="en-US" dirty="0" err="1"/>
              <a:t>Khotilovich</a:t>
            </a:r>
            <a:r>
              <a:rPr lang="en-US" dirty="0"/>
              <a:t>, V., &amp; Tang, Y. (2015). </a:t>
            </a:r>
            <a:r>
              <a:rPr lang="en-US" dirty="0" err="1"/>
              <a:t>Xgboost</a:t>
            </a:r>
            <a:r>
              <a:rPr lang="en-US" dirty="0"/>
              <a:t>: extreme gradient boosting. R package version 0.4-2, 1-4.</a:t>
            </a:r>
          </a:p>
          <a:p>
            <a:endParaRPr lang="zh-CN" altLang="zh-CN" dirty="0"/>
          </a:p>
          <a:p>
            <a:endParaRPr lang="zh-CN" altLang="zh-CN" dirty="0"/>
          </a:p>
        </p:txBody>
      </p:sp>
    </p:spTree>
    <p:extLst>
      <p:ext uri="{BB962C8B-B14F-4D97-AF65-F5344CB8AC3E}">
        <p14:creationId xmlns:p14="http://schemas.microsoft.com/office/powerpoint/2010/main" val="25218567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 References</a:t>
            </a:r>
            <a:endParaRPr lang="en-US" dirty="0"/>
          </a:p>
        </p:txBody>
      </p:sp>
      <p:sp>
        <p:nvSpPr>
          <p:cNvPr id="3" name="Text Placeholder 5"/>
          <p:cNvSpPr txBox="1">
            <a:spLocks/>
          </p:cNvSpPr>
          <p:nvPr/>
        </p:nvSpPr>
        <p:spPr>
          <a:xfrm>
            <a:off x="264840" y="1070993"/>
            <a:ext cx="9295878" cy="5419141"/>
          </a:xfrm>
          <a:prstGeom prst="rect">
            <a:avLst/>
          </a:prstGeom>
        </p:spPr>
        <p:txBody>
          <a:bodyPr/>
          <a:lstStyle>
            <a:lvl1pPr marL="188568" indent="-188568" algn="l" defTabSz="957925" rtl="0" eaLnBrk="1" latinLnBrk="0" hangingPunct="1">
              <a:lnSpc>
                <a:spcPct val="90000"/>
              </a:lnSpc>
              <a:spcBef>
                <a:spcPts val="1467"/>
              </a:spcBef>
              <a:buClr>
                <a:schemeClr val="bg2"/>
              </a:buClr>
              <a:buSzPct val="100000"/>
              <a:buFont typeface="Arial" pitchFamily="34" charset="0"/>
              <a:buChar char="■"/>
              <a:defRPr sz="1700" kern="1200">
                <a:solidFill>
                  <a:schemeClr val="tx1"/>
                </a:solidFill>
                <a:latin typeface="Palatino Linotype" panose="02040502050505030304" pitchFamily="18" charset="0"/>
                <a:ea typeface="+mn-ea"/>
                <a:cs typeface="Arial" pitchFamily="34" charset="0"/>
              </a:defRPr>
            </a:lvl1pPr>
            <a:lvl2pPr marL="325695" indent="-134110" algn="l" defTabSz="957925" rtl="0" eaLnBrk="1" latinLnBrk="0" hangingPunct="1">
              <a:lnSpc>
                <a:spcPct val="90000"/>
              </a:lnSpc>
              <a:spcBef>
                <a:spcPts val="943"/>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2pPr>
            <a:lvl3pPr marL="512905" indent="-188568" algn="l" defTabSz="957925" rtl="0" eaLnBrk="1" latinLnBrk="0" hangingPunct="1">
              <a:lnSpc>
                <a:spcPct val="90000"/>
              </a:lnSpc>
              <a:spcBef>
                <a:spcPts val="629"/>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3pPr>
            <a:lvl4pPr marL="663759" indent="-143689" algn="l" defTabSz="957925" rtl="0" eaLnBrk="1" latinLnBrk="0" hangingPunct="1">
              <a:lnSpc>
                <a:spcPct val="90000"/>
              </a:lnSpc>
              <a:spcBef>
                <a:spcPts val="210"/>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4pPr>
            <a:lvl5pPr marL="807071" indent="-143312" algn="l" defTabSz="957925" rtl="0" eaLnBrk="1" latinLnBrk="0" hangingPunct="1">
              <a:lnSpc>
                <a:spcPct val="90000"/>
              </a:lnSpc>
              <a:spcBef>
                <a:spcPts val="105"/>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5pPr>
            <a:lvl6pPr marL="2634295"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3258"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2220"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1183"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r>
              <a:rPr lang="en-US" dirty="0"/>
              <a:t>[16] Quinlan, J. R. (1987). Simplifying decision trees. International journal of man-machine studies, 27(3), 221-234.</a:t>
            </a:r>
          </a:p>
          <a:p>
            <a:r>
              <a:rPr lang="en-US" dirty="0"/>
              <a:t>[17] </a:t>
            </a:r>
            <a:r>
              <a:rPr lang="en-US" dirty="0" err="1"/>
              <a:t>Longstaff</a:t>
            </a:r>
            <a:r>
              <a:rPr lang="en-US" dirty="0"/>
              <a:t>, I. D., &amp; Cross, J. F. (1987). A pattern recognition approach to understanding the multi-layer perception. Pattern Recognition Letters, 5(5), 315-319.</a:t>
            </a:r>
          </a:p>
          <a:p>
            <a:r>
              <a:rPr lang="en-US" dirty="0"/>
              <a:t>[18] </a:t>
            </a:r>
            <a:r>
              <a:rPr lang="en-US" dirty="0" err="1"/>
              <a:t>Prettenhofer</a:t>
            </a:r>
            <a:r>
              <a:rPr lang="en-US" dirty="0"/>
              <a:t>, P., &amp; </a:t>
            </a:r>
            <a:r>
              <a:rPr lang="en-US" dirty="0" err="1"/>
              <a:t>Louppe</a:t>
            </a:r>
            <a:r>
              <a:rPr lang="en-US" dirty="0"/>
              <a:t>, G. (2014). Gradient boosted regression trees in </a:t>
            </a:r>
            <a:r>
              <a:rPr lang="en-US" dirty="0" err="1"/>
              <a:t>scikit</a:t>
            </a:r>
            <a:r>
              <a:rPr lang="en-US" dirty="0"/>
              <a:t>-learn.</a:t>
            </a:r>
          </a:p>
          <a:p>
            <a:r>
              <a:rPr lang="en-US" dirty="0"/>
              <a:t>[19] Ruck, D. W., Rogers, S. K., </a:t>
            </a:r>
            <a:r>
              <a:rPr lang="en-US" dirty="0" err="1"/>
              <a:t>Kabrisky</a:t>
            </a:r>
            <a:r>
              <a:rPr lang="en-US" dirty="0"/>
              <a:t>, M., Oxley, M. E., &amp; Suter, B. W. (1990). The multilayer perceptron as an approximation to a Bayes optimal discriminant function. IEEE Transactions on Neural Networks, 1(4), 296-298.</a:t>
            </a:r>
          </a:p>
          <a:p>
            <a:r>
              <a:rPr lang="en-US" dirty="0"/>
              <a:t>[20] Pal, S. K., &amp; </a:t>
            </a:r>
            <a:r>
              <a:rPr lang="en-US" dirty="0" err="1"/>
              <a:t>Mitra</a:t>
            </a:r>
            <a:r>
              <a:rPr lang="en-US" dirty="0"/>
              <a:t>, S. (1992). Multilayer perceptron, fuzzy sets, and classification. IEEE Transactions on neural networks, 3(5), 683-697.</a:t>
            </a:r>
          </a:p>
          <a:p>
            <a:r>
              <a:rPr lang="en-US" dirty="0"/>
              <a:t>[21] </a:t>
            </a:r>
            <a:r>
              <a:rPr lang="en-US" dirty="0" err="1"/>
              <a:t>Liaw</a:t>
            </a:r>
            <a:r>
              <a:rPr lang="en-US" dirty="0"/>
              <a:t>, A., &amp; Wiener, M. (2002). Classification and regression by </a:t>
            </a:r>
            <a:r>
              <a:rPr lang="en-US" dirty="0" err="1"/>
              <a:t>randomForest</a:t>
            </a:r>
            <a:r>
              <a:rPr lang="en-US" dirty="0"/>
              <a:t>. R news, 2(3), 18-22.</a:t>
            </a:r>
          </a:p>
          <a:p>
            <a:endParaRPr lang="zh-CN" altLang="zh-CN" dirty="0"/>
          </a:p>
          <a:p>
            <a:endParaRPr lang="zh-CN" altLang="zh-CN" dirty="0"/>
          </a:p>
        </p:txBody>
      </p:sp>
    </p:spTree>
    <p:extLst>
      <p:ext uri="{BB962C8B-B14F-4D97-AF65-F5344CB8AC3E}">
        <p14:creationId xmlns:p14="http://schemas.microsoft.com/office/powerpoint/2010/main" val="494014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图表 19">
            <a:extLst>
              <a:ext uri="{FF2B5EF4-FFF2-40B4-BE49-F238E27FC236}">
                <a16:creationId xmlns:a16="http://schemas.microsoft.com/office/drawing/2014/main" id="{A2C6200A-E0A2-4EB2-81AB-902F087EF3BF}"/>
              </a:ext>
            </a:extLst>
          </p:cNvPr>
          <p:cNvGraphicFramePr>
            <a:graphicFrameLocks/>
          </p:cNvGraphicFramePr>
          <p:nvPr/>
        </p:nvGraphicFramePr>
        <p:xfrm>
          <a:off x="4799535" y="3507108"/>
          <a:ext cx="4572000" cy="3206995"/>
        </p:xfrm>
        <a:graphic>
          <a:graphicData uri="http://schemas.openxmlformats.org/drawingml/2006/chart">
            <c:chart xmlns:c="http://schemas.openxmlformats.org/drawingml/2006/chart" xmlns:r="http://schemas.openxmlformats.org/officeDocument/2006/relationships" r:id="rId2"/>
          </a:graphicData>
        </a:graphic>
      </p:graphicFrame>
      <p:sp>
        <p:nvSpPr>
          <p:cNvPr id="7" name="标题 6">
            <a:extLst>
              <a:ext uri="{FF2B5EF4-FFF2-40B4-BE49-F238E27FC236}">
                <a16:creationId xmlns:a16="http://schemas.microsoft.com/office/drawing/2014/main" id="{F54728D0-9598-4834-A931-78EA4861A93B}"/>
              </a:ext>
            </a:extLst>
          </p:cNvPr>
          <p:cNvSpPr>
            <a:spLocks noGrp="1"/>
          </p:cNvSpPr>
          <p:nvPr>
            <p:ph type="title"/>
          </p:nvPr>
        </p:nvSpPr>
        <p:spPr/>
        <p:txBody>
          <a:bodyPr/>
          <a:lstStyle/>
          <a:p>
            <a:r>
              <a:rPr lang="en-US" altLang="zh-CN" dirty="0"/>
              <a:t>1.2 Why the scale of </a:t>
            </a:r>
            <a:r>
              <a:rPr lang="en-US" altLang="zh-CN" dirty="0" err="1"/>
              <a:t>Yu’e</a:t>
            </a:r>
            <a:r>
              <a:rPr lang="en-US" altLang="zh-CN" dirty="0"/>
              <a:t> Bao has fallen?</a:t>
            </a:r>
          </a:p>
        </p:txBody>
      </p:sp>
      <p:sp>
        <p:nvSpPr>
          <p:cNvPr id="8" name="文本框 7">
            <a:extLst>
              <a:ext uri="{FF2B5EF4-FFF2-40B4-BE49-F238E27FC236}">
                <a16:creationId xmlns:a16="http://schemas.microsoft.com/office/drawing/2014/main" id="{AD303E79-5063-4ECC-8231-71FCCAA2D4F2}"/>
              </a:ext>
            </a:extLst>
          </p:cNvPr>
          <p:cNvSpPr txBox="1"/>
          <p:nvPr/>
        </p:nvSpPr>
        <p:spPr>
          <a:xfrm>
            <a:off x="466400" y="1194581"/>
            <a:ext cx="8964990" cy="1803571"/>
          </a:xfrm>
          <a:prstGeom prst="rect">
            <a:avLst/>
          </a:prstGeom>
          <a:noFill/>
          <a:ln w="6350" cap="flat">
            <a:noFill/>
            <a:miter lim="800000"/>
          </a:ln>
        </p:spPr>
        <p:txBody>
          <a:bodyPr wrap="square" lIns="0" tIns="0" rIns="0" bIns="0" rtlCol="0" anchor="t" anchorCtr="0">
            <a:spAutoFit/>
          </a:bodyPr>
          <a:lstStyle/>
          <a:p>
            <a:pPr marL="342900" indent="-342900">
              <a:lnSpc>
                <a:spcPct val="90000"/>
              </a:lnSpc>
              <a:spcBef>
                <a:spcPts val="600"/>
              </a:spcBef>
              <a:buClr>
                <a:schemeClr val="bg2"/>
              </a:buClr>
              <a:buFont typeface="Wingdings" panose="05000000000000000000" pitchFamily="2" charset="2"/>
              <a:buChar char="p"/>
            </a:pPr>
            <a:r>
              <a:rPr lang="en-US" altLang="zh-CN" sz="1800" dirty="0">
                <a:latin typeface="Arial" pitchFamily="34" charset="0"/>
                <a:cs typeface="Arial" pitchFamily="34" charset="0"/>
              </a:rPr>
              <a:t>In Sep. 2017, the CSRC issued regulations on MMFs</a:t>
            </a:r>
          </a:p>
          <a:p>
            <a:pPr marL="821863" lvl="1" indent="-342900">
              <a:lnSpc>
                <a:spcPct val="90000"/>
              </a:lnSpc>
              <a:spcBef>
                <a:spcPts val="600"/>
              </a:spcBef>
              <a:buClr>
                <a:schemeClr val="bg2"/>
              </a:buClr>
              <a:buFont typeface="Wingdings" panose="05000000000000000000" pitchFamily="2" charset="2"/>
              <a:buChar char="ü"/>
            </a:pPr>
            <a:r>
              <a:rPr lang="en-US" altLang="zh-CN" sz="1800" dirty="0"/>
              <a:t>"All MMFs investing in bank deposits, interbank certificates of deposit and bonds must not exceed </a:t>
            </a:r>
            <a:r>
              <a:rPr lang="en-US" altLang="zh-CN" sz="1800" b="1" dirty="0">
                <a:solidFill>
                  <a:srgbClr val="9B1717"/>
                </a:solidFill>
              </a:rPr>
              <a:t>10%</a:t>
            </a:r>
            <a:r>
              <a:rPr lang="en-US" altLang="zh-CN" sz="1800" dirty="0"/>
              <a:t> of commercial bank’s net asset at the end of quarter.“</a:t>
            </a:r>
          </a:p>
          <a:p>
            <a:pPr>
              <a:lnSpc>
                <a:spcPct val="90000"/>
              </a:lnSpc>
              <a:spcBef>
                <a:spcPts val="600"/>
              </a:spcBef>
              <a:buClr>
                <a:schemeClr val="bg2"/>
              </a:buClr>
            </a:pPr>
            <a:r>
              <a:rPr lang="en-US" altLang="zh-CN" sz="1800" i="1" u="sng" dirty="0"/>
              <a:t>However in 2016,</a:t>
            </a:r>
          </a:p>
          <a:p>
            <a:pPr marL="342900" indent="-342900">
              <a:lnSpc>
                <a:spcPct val="90000"/>
              </a:lnSpc>
              <a:spcBef>
                <a:spcPts val="600"/>
              </a:spcBef>
              <a:buClr>
                <a:schemeClr val="bg2"/>
              </a:buClr>
              <a:buFont typeface="Wingdings" panose="05000000000000000000" pitchFamily="2" charset="2"/>
              <a:buChar char="p"/>
            </a:pPr>
            <a:r>
              <a:rPr lang="en-US" altLang="zh-CN" sz="1800" dirty="0">
                <a:latin typeface="Arial" pitchFamily="34" charset="0"/>
                <a:cs typeface="Arial" pitchFamily="34" charset="0"/>
              </a:rPr>
              <a:t>Ba</a:t>
            </a:r>
            <a:r>
              <a:rPr lang="en-US" altLang="zh-CN" sz="1800" dirty="0"/>
              <a:t>nk’s net assets were 9.8 trillion </a:t>
            </a:r>
            <a:r>
              <a:rPr lang="zh-CN" altLang="en-US" sz="1800" dirty="0"/>
              <a:t>→</a:t>
            </a:r>
            <a:r>
              <a:rPr lang="en-US" altLang="zh-CN" sz="1800" dirty="0"/>
              <a:t> MMFs investment cap was only </a:t>
            </a:r>
            <a:r>
              <a:rPr lang="en-US" altLang="zh-CN" sz="1800" b="1" dirty="0">
                <a:solidFill>
                  <a:srgbClr val="9B1717"/>
                </a:solidFill>
              </a:rPr>
              <a:t>0.98 trillion</a:t>
            </a:r>
            <a:r>
              <a:rPr lang="en-US" altLang="zh-CN" sz="1800" dirty="0"/>
              <a:t> </a:t>
            </a:r>
          </a:p>
          <a:p>
            <a:pPr marL="342900" indent="-342900">
              <a:lnSpc>
                <a:spcPct val="90000"/>
              </a:lnSpc>
              <a:spcBef>
                <a:spcPts val="600"/>
              </a:spcBef>
              <a:buClr>
                <a:schemeClr val="bg2"/>
              </a:buClr>
              <a:buFont typeface="Wingdings" panose="05000000000000000000" pitchFamily="2" charset="2"/>
              <a:buChar char="p"/>
            </a:pPr>
            <a:r>
              <a:rPr lang="en-US" altLang="zh-CN" sz="1800" dirty="0" err="1"/>
              <a:t>Yu’e</a:t>
            </a:r>
            <a:r>
              <a:rPr lang="en-US" altLang="zh-CN" sz="1800" dirty="0"/>
              <a:t> Bao fund scale had exceeded </a:t>
            </a:r>
            <a:r>
              <a:rPr lang="en-US" altLang="zh-CN" sz="1800" b="1" dirty="0">
                <a:solidFill>
                  <a:srgbClr val="9B1717"/>
                </a:solidFill>
              </a:rPr>
              <a:t>1.5 trillion</a:t>
            </a:r>
            <a:endParaRPr lang="en-US" altLang="zh-CN" sz="1800" dirty="0"/>
          </a:p>
        </p:txBody>
      </p:sp>
      <p:sp>
        <p:nvSpPr>
          <p:cNvPr id="19" name="矩形: 圆角 18">
            <a:extLst>
              <a:ext uri="{FF2B5EF4-FFF2-40B4-BE49-F238E27FC236}">
                <a16:creationId xmlns:a16="http://schemas.microsoft.com/office/drawing/2014/main" id="{DB48E027-223C-4873-A9FB-30A14825BB9E}"/>
              </a:ext>
            </a:extLst>
          </p:cNvPr>
          <p:cNvSpPr/>
          <p:nvPr/>
        </p:nvSpPr>
        <p:spPr>
          <a:xfrm>
            <a:off x="7672588" y="4175465"/>
            <a:ext cx="1102293" cy="2494689"/>
          </a:xfrm>
          <a:prstGeom prst="roundRect">
            <a:avLst/>
          </a:prstGeom>
          <a:noFill/>
          <a:ln w="19050" cap="flat">
            <a:solidFill>
              <a:srgbClr val="9B1717"/>
            </a:solidFill>
            <a:prstDash val="dash"/>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r>
              <a:rPr lang="en-US" altLang="zh-CN" sz="1400" dirty="0">
                <a:solidFill>
                  <a:schemeClr val="bg1"/>
                </a:solidFill>
                <a:latin typeface="Arial" pitchFamily="34" charset="0"/>
                <a:cs typeface="Arial" pitchFamily="34" charset="0"/>
              </a:rPr>
              <a:t> </a:t>
            </a:r>
            <a:endParaRPr lang="zh-CN" altLang="en-US" sz="1400" dirty="0" err="1">
              <a:solidFill>
                <a:schemeClr val="bg1"/>
              </a:solidFill>
              <a:latin typeface="Arial" pitchFamily="34" charset="0"/>
              <a:cs typeface="Arial" pitchFamily="34" charset="0"/>
            </a:endParaRPr>
          </a:p>
        </p:txBody>
      </p:sp>
      <p:grpSp>
        <p:nvGrpSpPr>
          <p:cNvPr id="48" name="组合 47">
            <a:extLst>
              <a:ext uri="{FF2B5EF4-FFF2-40B4-BE49-F238E27FC236}">
                <a16:creationId xmlns:a16="http://schemas.microsoft.com/office/drawing/2014/main" id="{1677F956-2580-492B-8B89-822CC3B43F83}"/>
              </a:ext>
            </a:extLst>
          </p:cNvPr>
          <p:cNvGrpSpPr/>
          <p:nvPr/>
        </p:nvGrpSpPr>
        <p:grpSpPr>
          <a:xfrm>
            <a:off x="502667" y="3950241"/>
            <a:ext cx="4229963" cy="2483721"/>
            <a:chOff x="5204234" y="3732260"/>
            <a:chExt cx="4229963" cy="2483721"/>
          </a:xfrm>
        </p:grpSpPr>
        <p:sp>
          <p:nvSpPr>
            <p:cNvPr id="22" name="椭圆 21">
              <a:extLst>
                <a:ext uri="{FF2B5EF4-FFF2-40B4-BE49-F238E27FC236}">
                  <a16:creationId xmlns:a16="http://schemas.microsoft.com/office/drawing/2014/main" id="{4C4AC852-4426-49CD-8582-988273BB45BA}"/>
                </a:ext>
              </a:extLst>
            </p:cNvPr>
            <p:cNvSpPr/>
            <p:nvPr/>
          </p:nvSpPr>
          <p:spPr>
            <a:xfrm>
              <a:off x="5204234" y="3732260"/>
              <a:ext cx="1080120" cy="1080120"/>
            </a:xfrm>
            <a:prstGeom prst="ellipse">
              <a:avLst/>
            </a:prstGeom>
            <a:solidFill>
              <a:srgbClr val="9B1717"/>
            </a:solidFill>
            <a:ln w="6350" cap="flat">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r>
                <a:rPr lang="en-US" altLang="zh-CN" sz="1400" dirty="0">
                  <a:solidFill>
                    <a:schemeClr val="bg1"/>
                  </a:solidFill>
                  <a:latin typeface="Arial" pitchFamily="34" charset="0"/>
                  <a:cs typeface="Arial" pitchFamily="34" charset="0"/>
                </a:rPr>
                <a:t>1,000 k</a:t>
              </a:r>
              <a:endParaRPr lang="zh-CN" altLang="en-US" sz="1400" dirty="0" err="1">
                <a:solidFill>
                  <a:schemeClr val="bg1"/>
                </a:solidFill>
                <a:latin typeface="Arial" pitchFamily="34" charset="0"/>
                <a:cs typeface="Arial" pitchFamily="34" charset="0"/>
              </a:endParaRPr>
            </a:p>
          </p:txBody>
        </p:sp>
        <p:sp>
          <p:nvSpPr>
            <p:cNvPr id="23" name="椭圆 22">
              <a:extLst>
                <a:ext uri="{FF2B5EF4-FFF2-40B4-BE49-F238E27FC236}">
                  <a16:creationId xmlns:a16="http://schemas.microsoft.com/office/drawing/2014/main" id="{BC137BF6-EE22-456F-92A7-8F41FAE543CD}"/>
                </a:ext>
              </a:extLst>
            </p:cNvPr>
            <p:cNvSpPr/>
            <p:nvPr/>
          </p:nvSpPr>
          <p:spPr>
            <a:xfrm>
              <a:off x="6648936" y="3823288"/>
              <a:ext cx="900000" cy="900000"/>
            </a:xfrm>
            <a:prstGeom prst="ellipse">
              <a:avLst/>
            </a:prstGeom>
            <a:solidFill>
              <a:srgbClr val="9B1717"/>
            </a:solidFill>
            <a:ln w="6350" cap="flat">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r>
                <a:rPr lang="en-US" altLang="zh-CN" sz="1400" dirty="0">
                  <a:solidFill>
                    <a:schemeClr val="bg1"/>
                  </a:solidFill>
                  <a:latin typeface="Arial" pitchFamily="34" charset="0"/>
                  <a:cs typeface="Arial" pitchFamily="34" charset="0"/>
                </a:rPr>
                <a:t>250 k</a:t>
              </a:r>
              <a:endParaRPr lang="zh-CN" altLang="en-US" sz="1400" dirty="0" err="1">
                <a:solidFill>
                  <a:schemeClr val="bg1"/>
                </a:solidFill>
                <a:latin typeface="Arial" pitchFamily="34" charset="0"/>
                <a:cs typeface="Arial" pitchFamily="34" charset="0"/>
              </a:endParaRPr>
            </a:p>
          </p:txBody>
        </p:sp>
        <p:sp>
          <p:nvSpPr>
            <p:cNvPr id="24" name="椭圆 23">
              <a:extLst>
                <a:ext uri="{FF2B5EF4-FFF2-40B4-BE49-F238E27FC236}">
                  <a16:creationId xmlns:a16="http://schemas.microsoft.com/office/drawing/2014/main" id="{828C0B41-7211-4C8F-9B69-7AC9E169594C}"/>
                </a:ext>
              </a:extLst>
            </p:cNvPr>
            <p:cNvSpPr/>
            <p:nvPr/>
          </p:nvSpPr>
          <p:spPr>
            <a:xfrm>
              <a:off x="8110424" y="3851430"/>
              <a:ext cx="828000" cy="828000"/>
            </a:xfrm>
            <a:prstGeom prst="ellipse">
              <a:avLst/>
            </a:prstGeom>
            <a:solidFill>
              <a:srgbClr val="9B1717"/>
            </a:solidFill>
            <a:ln w="6350" cap="flat">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r>
                <a:rPr lang="en-US" altLang="zh-CN" sz="1400" dirty="0">
                  <a:solidFill>
                    <a:schemeClr val="bg1"/>
                  </a:solidFill>
                  <a:latin typeface="Arial" pitchFamily="34" charset="0"/>
                  <a:cs typeface="Arial" pitchFamily="34" charset="0"/>
                </a:rPr>
                <a:t>100 k</a:t>
              </a:r>
              <a:endParaRPr lang="zh-CN" altLang="en-US" sz="1400" dirty="0" err="1">
                <a:solidFill>
                  <a:schemeClr val="bg1"/>
                </a:solidFill>
                <a:latin typeface="Arial" pitchFamily="34" charset="0"/>
                <a:cs typeface="Arial" pitchFamily="34" charset="0"/>
              </a:endParaRPr>
            </a:p>
          </p:txBody>
        </p:sp>
        <p:sp>
          <p:nvSpPr>
            <p:cNvPr id="25" name="椭圆 24">
              <a:extLst>
                <a:ext uri="{FF2B5EF4-FFF2-40B4-BE49-F238E27FC236}">
                  <a16:creationId xmlns:a16="http://schemas.microsoft.com/office/drawing/2014/main" id="{3EAE63AB-D436-4269-99D2-8DDF42733B01}"/>
                </a:ext>
              </a:extLst>
            </p:cNvPr>
            <p:cNvSpPr/>
            <p:nvPr/>
          </p:nvSpPr>
          <p:spPr>
            <a:xfrm>
              <a:off x="5366294" y="5233149"/>
              <a:ext cx="756000" cy="756000"/>
            </a:xfrm>
            <a:prstGeom prst="ellipse">
              <a:avLst/>
            </a:prstGeom>
            <a:solidFill>
              <a:srgbClr val="9B1717"/>
            </a:solidFill>
            <a:ln w="6350" cap="flat">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r>
                <a:rPr lang="en-US" altLang="zh-CN" sz="1400" dirty="0">
                  <a:solidFill>
                    <a:schemeClr val="bg1"/>
                  </a:solidFill>
                  <a:latin typeface="Arial" pitchFamily="34" charset="0"/>
                  <a:cs typeface="Arial" pitchFamily="34" charset="0"/>
                </a:rPr>
                <a:t>20 k</a:t>
              </a:r>
              <a:endParaRPr lang="zh-CN" altLang="en-US" sz="1400" dirty="0" err="1">
                <a:solidFill>
                  <a:schemeClr val="bg1"/>
                </a:solidFill>
                <a:latin typeface="Arial" pitchFamily="34" charset="0"/>
                <a:cs typeface="Arial" pitchFamily="34" charset="0"/>
              </a:endParaRPr>
            </a:p>
          </p:txBody>
        </p:sp>
        <p:cxnSp>
          <p:nvCxnSpPr>
            <p:cNvPr id="26" name="直接连接符 25">
              <a:extLst>
                <a:ext uri="{FF2B5EF4-FFF2-40B4-BE49-F238E27FC236}">
                  <a16:creationId xmlns:a16="http://schemas.microsoft.com/office/drawing/2014/main" id="{5C115DD0-5AE2-472E-9CCA-6D9D512780FC}"/>
                </a:ext>
              </a:extLst>
            </p:cNvPr>
            <p:cNvCxnSpPr>
              <a:cxnSpLocks/>
              <a:stCxn id="22" idx="6"/>
              <a:endCxn id="23" idx="2"/>
            </p:cNvCxnSpPr>
            <p:nvPr/>
          </p:nvCxnSpPr>
          <p:spPr>
            <a:xfrm>
              <a:off x="6284354" y="4272320"/>
              <a:ext cx="364582" cy="968"/>
            </a:xfrm>
            <a:prstGeom prst="line">
              <a:avLst/>
            </a:prstGeom>
            <a:ln w="28575" cap="flat">
              <a:solidFill>
                <a:srgbClr val="9B1717"/>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直接连接符 26">
              <a:extLst>
                <a:ext uri="{FF2B5EF4-FFF2-40B4-BE49-F238E27FC236}">
                  <a16:creationId xmlns:a16="http://schemas.microsoft.com/office/drawing/2014/main" id="{CAF3A555-E1F8-4F96-9AC5-797E5F898C66}"/>
                </a:ext>
              </a:extLst>
            </p:cNvPr>
            <p:cNvCxnSpPr>
              <a:cxnSpLocks/>
              <a:stCxn id="23" idx="6"/>
              <a:endCxn id="24" idx="2"/>
            </p:cNvCxnSpPr>
            <p:nvPr/>
          </p:nvCxnSpPr>
          <p:spPr>
            <a:xfrm flipV="1">
              <a:off x="7548936" y="4265430"/>
              <a:ext cx="561488" cy="7858"/>
            </a:xfrm>
            <a:prstGeom prst="line">
              <a:avLst/>
            </a:prstGeom>
            <a:ln w="28575" cap="flat">
              <a:solidFill>
                <a:srgbClr val="9B1717"/>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文本框 27">
              <a:extLst>
                <a:ext uri="{FF2B5EF4-FFF2-40B4-BE49-F238E27FC236}">
                  <a16:creationId xmlns:a16="http://schemas.microsoft.com/office/drawing/2014/main" id="{31BCBE7F-3267-4C2F-8F7D-09AE564EA27D}"/>
                </a:ext>
              </a:extLst>
            </p:cNvPr>
            <p:cNvSpPr txBox="1"/>
            <p:nvPr/>
          </p:nvSpPr>
          <p:spPr>
            <a:xfrm>
              <a:off x="5349374" y="6022082"/>
              <a:ext cx="3925640" cy="193899"/>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1400" dirty="0">
                  <a:solidFill>
                    <a:srgbClr val="9B1717"/>
                  </a:solidFill>
                  <a:latin typeface="Arial" pitchFamily="34" charset="0"/>
                  <a:cs typeface="Arial" pitchFamily="34" charset="0"/>
                </a:rPr>
                <a:t>Dec. 2017        Feb.–Mar. 2018       April 2019</a:t>
              </a:r>
              <a:endParaRPr lang="zh-CN" altLang="en-US" sz="1400" dirty="0">
                <a:solidFill>
                  <a:srgbClr val="9B1717"/>
                </a:solidFill>
                <a:latin typeface="Arial" pitchFamily="34" charset="0"/>
                <a:cs typeface="Arial" pitchFamily="34" charset="0"/>
              </a:endParaRPr>
            </a:p>
          </p:txBody>
        </p:sp>
        <p:sp>
          <p:nvSpPr>
            <p:cNvPr id="29" name="矩形: 圆角 28">
              <a:extLst>
                <a:ext uri="{FF2B5EF4-FFF2-40B4-BE49-F238E27FC236}">
                  <a16:creationId xmlns:a16="http://schemas.microsoft.com/office/drawing/2014/main" id="{F8E5B73D-88CB-48BE-87F9-774E7392C7B3}"/>
                </a:ext>
              </a:extLst>
            </p:cNvPr>
            <p:cNvSpPr/>
            <p:nvPr/>
          </p:nvSpPr>
          <p:spPr>
            <a:xfrm>
              <a:off x="6538740" y="5354631"/>
              <a:ext cx="1116124" cy="513036"/>
            </a:xfrm>
            <a:prstGeom prst="roundRect">
              <a:avLst/>
            </a:prstGeom>
            <a:solidFill>
              <a:srgbClr val="9B1717"/>
            </a:solidFill>
            <a:ln w="6350" cap="flat">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r>
                <a:rPr lang="en-US" altLang="zh-CN" sz="1400" dirty="0">
                  <a:solidFill>
                    <a:schemeClr val="bg1"/>
                  </a:solidFill>
                  <a:latin typeface="Arial" pitchFamily="34" charset="0"/>
                  <a:cs typeface="Arial" pitchFamily="34" charset="0"/>
                </a:rPr>
                <a:t>Dynamic Quota</a:t>
              </a:r>
              <a:endParaRPr lang="zh-CN" altLang="en-US" sz="1400" dirty="0" err="1">
                <a:solidFill>
                  <a:schemeClr val="bg1"/>
                </a:solidFill>
                <a:latin typeface="Arial" pitchFamily="34" charset="0"/>
                <a:cs typeface="Arial" pitchFamily="34" charset="0"/>
              </a:endParaRPr>
            </a:p>
          </p:txBody>
        </p:sp>
        <p:cxnSp>
          <p:nvCxnSpPr>
            <p:cNvPr id="30" name="直接连接符 29">
              <a:extLst>
                <a:ext uri="{FF2B5EF4-FFF2-40B4-BE49-F238E27FC236}">
                  <a16:creationId xmlns:a16="http://schemas.microsoft.com/office/drawing/2014/main" id="{50783881-0D8B-4616-9FFA-18DC07DAA6C9}"/>
                </a:ext>
              </a:extLst>
            </p:cNvPr>
            <p:cNvCxnSpPr>
              <a:cxnSpLocks/>
              <a:stCxn id="25" idx="6"/>
              <a:endCxn id="29" idx="1"/>
            </p:cNvCxnSpPr>
            <p:nvPr/>
          </p:nvCxnSpPr>
          <p:spPr>
            <a:xfrm>
              <a:off x="6122294" y="5611149"/>
              <a:ext cx="416446" cy="0"/>
            </a:xfrm>
            <a:prstGeom prst="line">
              <a:avLst/>
            </a:prstGeom>
            <a:ln w="28575" cap="flat">
              <a:solidFill>
                <a:srgbClr val="9B1717"/>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矩形: 圆角 30">
              <a:extLst>
                <a:ext uri="{FF2B5EF4-FFF2-40B4-BE49-F238E27FC236}">
                  <a16:creationId xmlns:a16="http://schemas.microsoft.com/office/drawing/2014/main" id="{A3B13578-8F39-40DA-B5AF-D6DC99159C99}"/>
                </a:ext>
              </a:extLst>
            </p:cNvPr>
            <p:cNvSpPr/>
            <p:nvPr/>
          </p:nvSpPr>
          <p:spPr>
            <a:xfrm>
              <a:off x="7966362" y="5354631"/>
              <a:ext cx="1116124" cy="513036"/>
            </a:xfrm>
            <a:prstGeom prst="roundRect">
              <a:avLst/>
            </a:prstGeom>
            <a:solidFill>
              <a:srgbClr val="9B1717"/>
            </a:solidFill>
            <a:ln w="6350" cap="flat">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altLang="zh-CN" sz="1400" dirty="0">
                  <a:solidFill>
                    <a:schemeClr val="bg1"/>
                  </a:solidFill>
                  <a:latin typeface="Arial" pitchFamily="34" charset="0"/>
                  <a:cs typeface="Arial" pitchFamily="34" charset="0"/>
                </a:rPr>
                <a:t>Quota Cancelled</a:t>
              </a:r>
              <a:endParaRPr lang="zh-CN" altLang="en-US" sz="1400" dirty="0" err="1">
                <a:solidFill>
                  <a:schemeClr val="bg1"/>
                </a:solidFill>
                <a:latin typeface="Arial" pitchFamily="34" charset="0"/>
                <a:cs typeface="Arial" pitchFamily="34" charset="0"/>
              </a:endParaRPr>
            </a:p>
          </p:txBody>
        </p:sp>
        <p:cxnSp>
          <p:nvCxnSpPr>
            <p:cNvPr id="32" name="直接连接符 31">
              <a:extLst>
                <a:ext uri="{FF2B5EF4-FFF2-40B4-BE49-F238E27FC236}">
                  <a16:creationId xmlns:a16="http://schemas.microsoft.com/office/drawing/2014/main" id="{F5181DFF-7BEE-44AC-A69F-36DED340E1E1}"/>
                </a:ext>
              </a:extLst>
            </p:cNvPr>
            <p:cNvCxnSpPr>
              <a:cxnSpLocks/>
              <a:stCxn id="29" idx="3"/>
              <a:endCxn id="31" idx="1"/>
            </p:cNvCxnSpPr>
            <p:nvPr/>
          </p:nvCxnSpPr>
          <p:spPr>
            <a:xfrm>
              <a:off x="7654864" y="5611149"/>
              <a:ext cx="311498" cy="0"/>
            </a:xfrm>
            <a:prstGeom prst="line">
              <a:avLst/>
            </a:prstGeom>
            <a:ln w="28575" cap="flat">
              <a:solidFill>
                <a:srgbClr val="9B1717"/>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3" name="文本框 32">
              <a:extLst>
                <a:ext uri="{FF2B5EF4-FFF2-40B4-BE49-F238E27FC236}">
                  <a16:creationId xmlns:a16="http://schemas.microsoft.com/office/drawing/2014/main" id="{8B61EBCD-6C5E-47ED-835F-A1783F2AE70D}"/>
                </a:ext>
              </a:extLst>
            </p:cNvPr>
            <p:cNvSpPr txBox="1"/>
            <p:nvPr/>
          </p:nvSpPr>
          <p:spPr>
            <a:xfrm>
              <a:off x="5341324" y="4848210"/>
              <a:ext cx="3925640" cy="193899"/>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1400" dirty="0">
                  <a:solidFill>
                    <a:srgbClr val="9B1717"/>
                  </a:solidFill>
                  <a:latin typeface="Arial" pitchFamily="34" charset="0"/>
                  <a:cs typeface="Arial" pitchFamily="34" charset="0"/>
                </a:rPr>
                <a:t>Jun. 2013             May 2017             Aug. 2017</a:t>
              </a:r>
              <a:endParaRPr lang="zh-CN" altLang="en-US" sz="1400" dirty="0">
                <a:solidFill>
                  <a:srgbClr val="9B1717"/>
                </a:solidFill>
                <a:latin typeface="Arial" pitchFamily="34" charset="0"/>
                <a:cs typeface="Arial" pitchFamily="34" charset="0"/>
              </a:endParaRPr>
            </a:p>
          </p:txBody>
        </p:sp>
        <p:cxnSp>
          <p:nvCxnSpPr>
            <p:cNvPr id="34" name="直接连接符 33">
              <a:extLst>
                <a:ext uri="{FF2B5EF4-FFF2-40B4-BE49-F238E27FC236}">
                  <a16:creationId xmlns:a16="http://schemas.microsoft.com/office/drawing/2014/main" id="{25B00E03-78BF-4B9D-BE4D-B32EC0FCDC36}"/>
                </a:ext>
              </a:extLst>
            </p:cNvPr>
            <p:cNvCxnSpPr/>
            <p:nvPr/>
          </p:nvCxnSpPr>
          <p:spPr>
            <a:xfrm flipV="1">
              <a:off x="5204234" y="5172320"/>
              <a:ext cx="4229963" cy="0"/>
            </a:xfrm>
            <a:prstGeom prst="line">
              <a:avLst/>
            </a:prstGeom>
            <a:ln w="28575" cap="flat">
              <a:solidFill>
                <a:srgbClr val="9B1717"/>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直接连接符 34">
              <a:extLst>
                <a:ext uri="{FF2B5EF4-FFF2-40B4-BE49-F238E27FC236}">
                  <a16:creationId xmlns:a16="http://schemas.microsoft.com/office/drawing/2014/main" id="{F9B3EA3D-8AF0-4578-866C-3C7A2BFAA33D}"/>
                </a:ext>
              </a:extLst>
            </p:cNvPr>
            <p:cNvCxnSpPr>
              <a:cxnSpLocks/>
            </p:cNvCxnSpPr>
            <p:nvPr/>
          </p:nvCxnSpPr>
          <p:spPr>
            <a:xfrm>
              <a:off x="5204234" y="5172320"/>
              <a:ext cx="0" cy="438829"/>
            </a:xfrm>
            <a:prstGeom prst="line">
              <a:avLst/>
            </a:prstGeom>
            <a:ln w="28575" cap="flat">
              <a:solidFill>
                <a:srgbClr val="9B1717"/>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直接箭头连接符 38">
              <a:extLst>
                <a:ext uri="{FF2B5EF4-FFF2-40B4-BE49-F238E27FC236}">
                  <a16:creationId xmlns:a16="http://schemas.microsoft.com/office/drawing/2014/main" id="{21ED2D07-BEC7-4118-9E76-67CFA1D9718E}"/>
                </a:ext>
              </a:extLst>
            </p:cNvPr>
            <p:cNvCxnSpPr>
              <a:endCxn id="25" idx="2"/>
            </p:cNvCxnSpPr>
            <p:nvPr/>
          </p:nvCxnSpPr>
          <p:spPr>
            <a:xfrm flipV="1">
              <a:off x="5204234" y="5611149"/>
              <a:ext cx="162060" cy="0"/>
            </a:xfrm>
            <a:prstGeom prst="straightConnector1">
              <a:avLst/>
            </a:prstGeom>
            <a:ln w="28575" cap="flat">
              <a:solidFill>
                <a:srgbClr val="9B1717"/>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直接连接符 40">
              <a:extLst>
                <a:ext uri="{FF2B5EF4-FFF2-40B4-BE49-F238E27FC236}">
                  <a16:creationId xmlns:a16="http://schemas.microsoft.com/office/drawing/2014/main" id="{6828D519-7D6F-4558-83DB-0F022501E03E}"/>
                </a:ext>
              </a:extLst>
            </p:cNvPr>
            <p:cNvCxnSpPr>
              <a:cxnSpLocks/>
            </p:cNvCxnSpPr>
            <p:nvPr/>
          </p:nvCxnSpPr>
          <p:spPr>
            <a:xfrm>
              <a:off x="9434197" y="4265430"/>
              <a:ext cx="0" cy="906890"/>
            </a:xfrm>
            <a:prstGeom prst="line">
              <a:avLst/>
            </a:prstGeom>
            <a:ln w="28575" cap="flat">
              <a:solidFill>
                <a:srgbClr val="9B1717"/>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 name="直接连接符 43">
              <a:extLst>
                <a:ext uri="{FF2B5EF4-FFF2-40B4-BE49-F238E27FC236}">
                  <a16:creationId xmlns:a16="http://schemas.microsoft.com/office/drawing/2014/main" id="{17E6D241-37AA-4973-BE86-381A503FDF98}"/>
                </a:ext>
              </a:extLst>
            </p:cNvPr>
            <p:cNvCxnSpPr>
              <a:cxnSpLocks/>
              <a:stCxn id="24" idx="6"/>
            </p:cNvCxnSpPr>
            <p:nvPr/>
          </p:nvCxnSpPr>
          <p:spPr>
            <a:xfrm>
              <a:off x="8938424" y="4265430"/>
              <a:ext cx="495773" cy="0"/>
            </a:xfrm>
            <a:prstGeom prst="line">
              <a:avLst/>
            </a:prstGeom>
            <a:ln w="28575" cap="flat">
              <a:solidFill>
                <a:srgbClr val="9B1717"/>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6" name="矩形 35">
            <a:extLst>
              <a:ext uri="{FF2B5EF4-FFF2-40B4-BE49-F238E27FC236}">
                <a16:creationId xmlns:a16="http://schemas.microsoft.com/office/drawing/2014/main" id="{6A50C3EC-6F46-46CC-8327-33DE1360C3E7}"/>
              </a:ext>
            </a:extLst>
          </p:cNvPr>
          <p:cNvSpPr/>
          <p:nvPr/>
        </p:nvSpPr>
        <p:spPr>
          <a:xfrm>
            <a:off x="264840" y="3248895"/>
            <a:ext cx="4572509" cy="318593"/>
          </a:xfrm>
          <a:prstGeom prst="rect">
            <a:avLst/>
          </a:prstGeom>
          <a:solidFill>
            <a:srgbClr val="9B1717"/>
          </a:solidFill>
          <a:ln w="6350" cap="flat">
            <a:noFill/>
            <a:miter lim="800000"/>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r>
              <a:rPr lang="en-US" altLang="zh-CN" sz="1400" b="1" dirty="0" err="1">
                <a:latin typeface="Arial" pitchFamily="34" charset="0"/>
                <a:cs typeface="Arial" pitchFamily="34" charset="0"/>
              </a:rPr>
              <a:t>Yu’e</a:t>
            </a:r>
            <a:r>
              <a:rPr lang="en-US" altLang="zh-CN" sz="1400" b="1" dirty="0">
                <a:latin typeface="Arial" pitchFamily="34" charset="0"/>
                <a:cs typeface="Arial" pitchFamily="34" charset="0"/>
              </a:rPr>
              <a:t> Bao’s policy on fund scale for each user</a:t>
            </a:r>
          </a:p>
        </p:txBody>
      </p:sp>
      <p:sp>
        <p:nvSpPr>
          <p:cNvPr id="37" name="矩形 36">
            <a:extLst>
              <a:ext uri="{FF2B5EF4-FFF2-40B4-BE49-F238E27FC236}">
                <a16:creationId xmlns:a16="http://schemas.microsoft.com/office/drawing/2014/main" id="{FBC10799-9993-4B3A-89CB-2630F95B5FD0}"/>
              </a:ext>
            </a:extLst>
          </p:cNvPr>
          <p:cNvSpPr/>
          <p:nvPr/>
        </p:nvSpPr>
        <p:spPr>
          <a:xfrm>
            <a:off x="5078351" y="3250330"/>
            <a:ext cx="4572509" cy="318593"/>
          </a:xfrm>
          <a:prstGeom prst="rect">
            <a:avLst/>
          </a:prstGeom>
          <a:solidFill>
            <a:srgbClr val="9B1717"/>
          </a:solidFill>
          <a:ln w="6350" cap="flat">
            <a:noFill/>
            <a:miter lim="800000"/>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r>
              <a:rPr lang="en-US" altLang="zh-CN" sz="1400" b="1" dirty="0" err="1">
                <a:latin typeface="Arial" pitchFamily="34" charset="0"/>
                <a:cs typeface="Arial" pitchFamily="34" charset="0"/>
              </a:rPr>
              <a:t>Tianhong</a:t>
            </a:r>
            <a:r>
              <a:rPr lang="en-US" altLang="zh-CN" sz="1400" b="1" dirty="0">
                <a:latin typeface="Arial" pitchFamily="34" charset="0"/>
                <a:cs typeface="Arial" pitchFamily="34" charset="0"/>
              </a:rPr>
              <a:t> </a:t>
            </a:r>
            <a:r>
              <a:rPr lang="en-US" altLang="zh-CN" sz="1400" b="1" dirty="0" err="1">
                <a:latin typeface="Arial" pitchFamily="34" charset="0"/>
                <a:cs typeface="Arial" pitchFamily="34" charset="0"/>
              </a:rPr>
              <a:t>Yu’e</a:t>
            </a:r>
            <a:r>
              <a:rPr lang="en-US" altLang="zh-CN" sz="1400" b="1" dirty="0">
                <a:latin typeface="Arial" pitchFamily="34" charset="0"/>
                <a:cs typeface="Arial" pitchFamily="34" charset="0"/>
              </a:rPr>
              <a:t> Bao’s scale</a:t>
            </a:r>
          </a:p>
        </p:txBody>
      </p:sp>
      <p:cxnSp>
        <p:nvCxnSpPr>
          <p:cNvPr id="38" name="直接连接符 37">
            <a:extLst>
              <a:ext uri="{FF2B5EF4-FFF2-40B4-BE49-F238E27FC236}">
                <a16:creationId xmlns:a16="http://schemas.microsoft.com/office/drawing/2014/main" id="{BDC0716E-5635-4862-AB7F-E171A78F8D58}"/>
              </a:ext>
            </a:extLst>
          </p:cNvPr>
          <p:cNvCxnSpPr>
            <a:cxnSpLocks/>
          </p:cNvCxnSpPr>
          <p:nvPr/>
        </p:nvCxnSpPr>
        <p:spPr>
          <a:xfrm>
            <a:off x="4953408" y="5049974"/>
            <a:ext cx="4951005" cy="0"/>
          </a:xfrm>
          <a:prstGeom prst="line">
            <a:avLst/>
          </a:prstGeom>
          <a:noFill/>
          <a:ln w="19050" cap="flat">
            <a:solidFill>
              <a:srgbClr val="9B1717"/>
            </a:solidFill>
            <a:prstDash val="dash"/>
            <a:miter lim="800000"/>
          </a:ln>
        </p:spPr>
        <p:style>
          <a:lnRef idx="2">
            <a:schemeClr val="accent1">
              <a:shade val="50000"/>
            </a:schemeClr>
          </a:lnRef>
          <a:fillRef idx="1">
            <a:schemeClr val="accent1"/>
          </a:fillRef>
          <a:effectRef idx="0">
            <a:schemeClr val="accent1"/>
          </a:effectRef>
          <a:fontRef idx="minor">
            <a:schemeClr val="lt1"/>
          </a:fontRef>
        </p:style>
      </p:cxnSp>
      <p:sp>
        <p:nvSpPr>
          <p:cNvPr id="40" name="文本框 39">
            <a:extLst>
              <a:ext uri="{FF2B5EF4-FFF2-40B4-BE49-F238E27FC236}">
                <a16:creationId xmlns:a16="http://schemas.microsoft.com/office/drawing/2014/main" id="{6ACC93E1-B62E-416E-AE43-09A09B14374A}"/>
              </a:ext>
            </a:extLst>
          </p:cNvPr>
          <p:cNvSpPr txBox="1"/>
          <p:nvPr/>
        </p:nvSpPr>
        <p:spPr>
          <a:xfrm>
            <a:off x="5463254" y="5123021"/>
            <a:ext cx="1054309" cy="193897"/>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1400" dirty="0">
                <a:solidFill>
                  <a:srgbClr val="9B1717"/>
                </a:solidFill>
                <a:latin typeface="Arial" pitchFamily="34" charset="0"/>
                <a:cs typeface="Arial" pitchFamily="34" charset="0"/>
              </a:rPr>
              <a:t>Cap in 2016</a:t>
            </a:r>
            <a:endParaRPr lang="zh-CN" altLang="en-US" sz="1400" dirty="0">
              <a:solidFill>
                <a:srgbClr val="9B1717"/>
              </a:solidFill>
              <a:latin typeface="Arial" pitchFamily="34" charset="0"/>
              <a:cs typeface="Arial" pitchFamily="34" charset="0"/>
            </a:endParaRPr>
          </a:p>
        </p:txBody>
      </p:sp>
    </p:spTree>
    <p:extLst>
      <p:ext uri="{BB962C8B-B14F-4D97-AF65-F5344CB8AC3E}">
        <p14:creationId xmlns:p14="http://schemas.microsoft.com/office/powerpoint/2010/main" val="31525856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E8E892D-F134-4356-A844-1FBF0F39F74F}"/>
              </a:ext>
            </a:extLst>
          </p:cNvPr>
          <p:cNvSpPr>
            <a:spLocks noGrp="1"/>
          </p:cNvSpPr>
          <p:nvPr>
            <p:ph type="title"/>
          </p:nvPr>
        </p:nvSpPr>
        <p:spPr/>
        <p:txBody>
          <a:bodyPr/>
          <a:lstStyle/>
          <a:p>
            <a:endParaRPr lang="zh-CN" altLang="en-US"/>
          </a:p>
        </p:txBody>
      </p:sp>
      <p:sp>
        <p:nvSpPr>
          <p:cNvPr id="4" name="文本框 3">
            <a:extLst>
              <a:ext uri="{FF2B5EF4-FFF2-40B4-BE49-F238E27FC236}">
                <a16:creationId xmlns:a16="http://schemas.microsoft.com/office/drawing/2014/main" id="{498AE0D5-6FCA-46CE-84B0-3152E6FBB14C}"/>
              </a:ext>
            </a:extLst>
          </p:cNvPr>
          <p:cNvSpPr txBox="1"/>
          <p:nvPr/>
        </p:nvSpPr>
        <p:spPr>
          <a:xfrm>
            <a:off x="2194589" y="2637706"/>
            <a:ext cx="5508612" cy="1446550"/>
          </a:xfrm>
          <a:prstGeom prst="rect">
            <a:avLst/>
          </a:prstGeom>
          <a:noFill/>
          <a:ln w="6350" cap="flat">
            <a:noFill/>
            <a:miter lim="800000"/>
          </a:ln>
        </p:spPr>
        <p:txBody>
          <a:bodyPr wrap="square" lIns="0" tIns="0" rIns="0" bIns="0" rtlCol="0" anchor="t" anchorCtr="0">
            <a:spAutoFit/>
          </a:bodyPr>
          <a:lstStyle/>
          <a:p>
            <a:pPr algn="ctr">
              <a:spcBef>
                <a:spcPts val="1200"/>
              </a:spcBef>
              <a:buClr>
                <a:schemeClr val="bg2"/>
              </a:buClr>
            </a:pPr>
            <a:r>
              <a:rPr lang="en-US" altLang="zh-CN" sz="6000" b="1" dirty="0">
                <a:solidFill>
                  <a:srgbClr val="9B1717"/>
                </a:solidFill>
                <a:latin typeface="Palatino Linotype" panose="02040502050505030304" pitchFamily="18" charset="0"/>
                <a:ea typeface="华文楷体" panose="02010600040101010101" pitchFamily="2" charset="-122"/>
                <a:cs typeface="Arial" pitchFamily="34" charset="0"/>
              </a:rPr>
              <a:t>Q&amp;A</a:t>
            </a:r>
          </a:p>
          <a:p>
            <a:pPr algn="ctr">
              <a:spcBef>
                <a:spcPts val="1200"/>
              </a:spcBef>
              <a:buClr>
                <a:schemeClr val="bg2"/>
              </a:buClr>
            </a:pPr>
            <a:r>
              <a:rPr lang="en-US" altLang="zh-CN" sz="2400" dirty="0">
                <a:latin typeface="Palatino Linotype" panose="02040502050505030304" pitchFamily="18" charset="0"/>
                <a:ea typeface="华文楷体" panose="02010600040101010101" pitchFamily="2" charset="-122"/>
                <a:cs typeface="Arial" pitchFamily="34" charset="0"/>
              </a:rPr>
              <a:t>Enjoy our final!</a:t>
            </a:r>
            <a:endParaRPr lang="zh-CN" altLang="en-US" sz="2400" dirty="0">
              <a:latin typeface="Palatino Linotype" panose="02040502050505030304" pitchFamily="18" charset="0"/>
              <a:ea typeface="华文楷体" panose="02010600040101010101" pitchFamily="2" charset="-122"/>
              <a:cs typeface="Arial" pitchFamily="34" charset="0"/>
            </a:endParaRPr>
          </a:p>
        </p:txBody>
      </p:sp>
      <p:sp>
        <p:nvSpPr>
          <p:cNvPr id="9" name="矩形 8">
            <a:extLst>
              <a:ext uri="{FF2B5EF4-FFF2-40B4-BE49-F238E27FC236}">
                <a16:creationId xmlns:a16="http://schemas.microsoft.com/office/drawing/2014/main" id="{96A521DE-DA0F-4F98-909B-38DF8A9AAED5}"/>
              </a:ext>
            </a:extLst>
          </p:cNvPr>
          <p:cNvSpPr/>
          <p:nvPr/>
        </p:nvSpPr>
        <p:spPr>
          <a:xfrm>
            <a:off x="127670" y="0"/>
            <a:ext cx="9649072" cy="1233550"/>
          </a:xfrm>
          <a:prstGeom prst="rect">
            <a:avLst/>
          </a:pr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zh-CN" altLang="en-US" sz="1400" dirty="0" err="1">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9079773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CE2A92A-8575-4C02-9730-2E23338E29D2}"/>
              </a:ext>
            </a:extLst>
          </p:cNvPr>
          <p:cNvSpPr>
            <a:spLocks noGrp="1"/>
          </p:cNvSpPr>
          <p:nvPr>
            <p:ph type="title"/>
          </p:nvPr>
        </p:nvSpPr>
        <p:spPr/>
        <p:txBody>
          <a:bodyPr/>
          <a:lstStyle/>
          <a:p>
            <a:r>
              <a:rPr lang="en-US" altLang="zh-CN" dirty="0"/>
              <a:t>1.3 Significance of inflow and outflow of </a:t>
            </a:r>
            <a:r>
              <a:rPr lang="en-US" altLang="zh-CN" dirty="0" err="1"/>
              <a:t>Yu’e</a:t>
            </a:r>
            <a:r>
              <a:rPr lang="en-US" altLang="zh-CN" dirty="0"/>
              <a:t> Bao</a:t>
            </a:r>
            <a:endParaRPr lang="zh-CN" altLang="en-US" dirty="0"/>
          </a:p>
        </p:txBody>
      </p:sp>
      <p:sp>
        <p:nvSpPr>
          <p:cNvPr id="3" name="文本框 2">
            <a:extLst>
              <a:ext uri="{FF2B5EF4-FFF2-40B4-BE49-F238E27FC236}">
                <a16:creationId xmlns:a16="http://schemas.microsoft.com/office/drawing/2014/main" id="{0CFB9663-50CC-4684-826F-34767212BE05}"/>
              </a:ext>
            </a:extLst>
          </p:cNvPr>
          <p:cNvSpPr txBox="1"/>
          <p:nvPr/>
        </p:nvSpPr>
        <p:spPr>
          <a:xfrm>
            <a:off x="345138" y="1881443"/>
            <a:ext cx="5155418" cy="2551468"/>
          </a:xfrm>
          <a:prstGeom prst="rect">
            <a:avLst/>
          </a:prstGeom>
          <a:noFill/>
          <a:ln w="6350" cap="flat">
            <a:noFill/>
            <a:miter lim="800000"/>
          </a:ln>
        </p:spPr>
        <p:txBody>
          <a:bodyPr wrap="square" lIns="0" tIns="0" rIns="0" bIns="0" rtlCol="0" anchor="t" anchorCtr="0">
            <a:spAutoFit/>
          </a:bodyPr>
          <a:lstStyle/>
          <a:p>
            <a:pPr marL="342900" lvl="1" indent="-342900">
              <a:lnSpc>
                <a:spcPct val="90000"/>
              </a:lnSpc>
              <a:spcBef>
                <a:spcPts val="600"/>
              </a:spcBef>
              <a:buClr>
                <a:schemeClr val="bg2"/>
              </a:buClr>
              <a:buFont typeface="Wingdings" panose="05000000000000000000" pitchFamily="2" charset="2"/>
              <a:buChar char="p"/>
            </a:pPr>
            <a:r>
              <a:rPr lang="en-US" altLang="zh-CN" sz="1800" dirty="0">
                <a:latin typeface="Arial" pitchFamily="34" charset="0"/>
                <a:cs typeface="Arial" pitchFamily="34" charset="0"/>
              </a:rPr>
              <a:t>Why MMFs need reserves?</a:t>
            </a:r>
          </a:p>
          <a:p>
            <a:pPr marL="821863" lvl="1" indent="-342900">
              <a:lnSpc>
                <a:spcPct val="90000"/>
              </a:lnSpc>
              <a:spcBef>
                <a:spcPts val="600"/>
              </a:spcBef>
              <a:buClr>
                <a:schemeClr val="bg2"/>
              </a:buClr>
              <a:buFont typeface="Wingdings" panose="05000000000000000000" pitchFamily="2" charset="2"/>
              <a:buChar char="ü"/>
            </a:pPr>
            <a:r>
              <a:rPr lang="en-GB" altLang="zh-CN" sz="1800" dirty="0"/>
              <a:t>Market yields rise </a:t>
            </a:r>
            <a:r>
              <a:rPr lang="zh-CN" altLang="en-US" sz="1800" dirty="0"/>
              <a:t>→ </a:t>
            </a:r>
            <a:r>
              <a:rPr lang="en-GB" altLang="zh-CN" sz="1800" dirty="0"/>
              <a:t>Bond prices fall </a:t>
            </a:r>
          </a:p>
          <a:p>
            <a:pPr marL="821863" lvl="1" indent="-342900">
              <a:lnSpc>
                <a:spcPct val="90000"/>
              </a:lnSpc>
              <a:spcBef>
                <a:spcPts val="600"/>
              </a:spcBef>
              <a:buClr>
                <a:schemeClr val="bg2"/>
              </a:buClr>
              <a:buFont typeface="Wingdings" panose="05000000000000000000" pitchFamily="2" charset="2"/>
              <a:buChar char="ü"/>
            </a:pPr>
            <a:r>
              <a:rPr lang="en-GB" altLang="zh-CN" sz="1800" dirty="0"/>
              <a:t>Redemptions of MMFs </a:t>
            </a:r>
            <a:r>
              <a:rPr lang="zh-CN" altLang="en-US" sz="1800" dirty="0"/>
              <a:t>→ </a:t>
            </a:r>
            <a:r>
              <a:rPr lang="en-US" altLang="zh-CN" sz="1800" dirty="0"/>
              <a:t>Sell bonds before maturity</a:t>
            </a:r>
            <a:r>
              <a:rPr lang="en-GB" altLang="zh-CN" sz="1800" dirty="0"/>
              <a:t> </a:t>
            </a:r>
            <a:r>
              <a:rPr lang="zh-CN" altLang="en-US" sz="1800" dirty="0"/>
              <a:t>→ </a:t>
            </a:r>
            <a:r>
              <a:rPr lang="en-US" altLang="zh-CN" sz="1800" dirty="0"/>
              <a:t>Net worth decrease</a:t>
            </a:r>
            <a:r>
              <a:rPr lang="en-GB" altLang="zh-CN" sz="1800" dirty="0"/>
              <a:t> </a:t>
            </a:r>
            <a:r>
              <a:rPr lang="zh-CN" altLang="en-US" sz="1800" dirty="0"/>
              <a:t>→ </a:t>
            </a:r>
            <a:r>
              <a:rPr lang="en-GB" altLang="zh-CN" sz="1800" dirty="0"/>
              <a:t>Redemptions </a:t>
            </a:r>
            <a:r>
              <a:rPr lang="zh-CN" altLang="en-US" sz="1800" dirty="0"/>
              <a:t>→ </a:t>
            </a:r>
            <a:r>
              <a:rPr lang="en-US" altLang="zh-CN" sz="1800" dirty="0"/>
              <a:t>…</a:t>
            </a:r>
          </a:p>
          <a:p>
            <a:pPr marL="342900" indent="-342900">
              <a:lnSpc>
                <a:spcPct val="90000"/>
              </a:lnSpc>
              <a:spcBef>
                <a:spcPts val="600"/>
              </a:spcBef>
              <a:buClr>
                <a:schemeClr val="bg2"/>
              </a:buClr>
              <a:buFont typeface="Wingdings" panose="05000000000000000000" pitchFamily="2" charset="2"/>
              <a:buChar char="p"/>
            </a:pPr>
            <a:r>
              <a:rPr lang="en-US" altLang="zh-CN" sz="1800" dirty="0">
                <a:latin typeface="Arial" pitchFamily="34" charset="0"/>
                <a:cs typeface="Arial" pitchFamily="34" charset="0"/>
              </a:rPr>
              <a:t>CSRC’s regulations on MMFs also stipulates:</a:t>
            </a:r>
          </a:p>
          <a:p>
            <a:pPr marL="821863" lvl="1" indent="-342900">
              <a:lnSpc>
                <a:spcPct val="90000"/>
              </a:lnSpc>
              <a:spcBef>
                <a:spcPts val="600"/>
              </a:spcBef>
              <a:buClr>
                <a:schemeClr val="bg2"/>
              </a:buClr>
              <a:buFont typeface="Wingdings" panose="05000000000000000000" pitchFamily="2" charset="2"/>
              <a:buChar char="ü"/>
            </a:pPr>
            <a:r>
              <a:rPr lang="en-US" altLang="zh-CN" sz="1800" dirty="0">
                <a:latin typeface="Arial" pitchFamily="34" charset="0"/>
                <a:cs typeface="Arial" pitchFamily="34" charset="0"/>
              </a:rPr>
              <a:t>Total net worth at month-end must not exceed </a:t>
            </a:r>
            <a:r>
              <a:rPr lang="en-US" altLang="zh-CN" sz="1800" b="1" dirty="0">
                <a:solidFill>
                  <a:srgbClr val="9B1717"/>
                </a:solidFill>
                <a:latin typeface="Arial" pitchFamily="34" charset="0"/>
                <a:cs typeface="Arial" pitchFamily="34" charset="0"/>
              </a:rPr>
              <a:t>200 times </a:t>
            </a:r>
            <a:r>
              <a:rPr lang="en-US" altLang="zh-CN" sz="1800" dirty="0">
                <a:latin typeface="Arial" pitchFamily="34" charset="0"/>
                <a:cs typeface="Arial" pitchFamily="34" charset="0"/>
              </a:rPr>
              <a:t>the monthly balance of the risk reserve</a:t>
            </a:r>
          </a:p>
        </p:txBody>
      </p:sp>
      <p:sp>
        <p:nvSpPr>
          <p:cNvPr id="5" name="椭圆 4">
            <a:extLst>
              <a:ext uri="{FF2B5EF4-FFF2-40B4-BE49-F238E27FC236}">
                <a16:creationId xmlns:a16="http://schemas.microsoft.com/office/drawing/2014/main" id="{DA53BE6C-A98F-443B-9358-BDE623835861}"/>
              </a:ext>
            </a:extLst>
          </p:cNvPr>
          <p:cNvSpPr/>
          <p:nvPr/>
        </p:nvSpPr>
        <p:spPr>
          <a:xfrm>
            <a:off x="5910787" y="1312894"/>
            <a:ext cx="1499260" cy="1499260"/>
          </a:xfrm>
          <a:prstGeom prst="ellipse">
            <a:avLst/>
          </a:prstGeom>
          <a:solidFill>
            <a:srgbClr val="9B1717"/>
          </a:solidFill>
          <a:ln w="6350" cap="flat">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r>
              <a:rPr lang="en-US" altLang="zh-CN" sz="1400" dirty="0">
                <a:solidFill>
                  <a:schemeClr val="bg1"/>
                </a:solidFill>
                <a:latin typeface="Arial" pitchFamily="34" charset="0"/>
                <a:cs typeface="Arial" pitchFamily="34" charset="0"/>
              </a:rPr>
              <a:t>Net Worth:</a:t>
            </a:r>
          </a:p>
          <a:p>
            <a:pPr algn="ctr">
              <a:lnSpc>
                <a:spcPct val="90000"/>
              </a:lnSpc>
              <a:spcBef>
                <a:spcPts val="900"/>
              </a:spcBef>
            </a:pPr>
            <a:r>
              <a:rPr lang="en-US" altLang="zh-CN" sz="1400" dirty="0">
                <a:solidFill>
                  <a:schemeClr val="bg1"/>
                </a:solidFill>
                <a:latin typeface="Arial" pitchFamily="34" charset="0"/>
                <a:cs typeface="Arial" pitchFamily="34" charset="0"/>
              </a:rPr>
              <a:t>1.5 T</a:t>
            </a:r>
          </a:p>
        </p:txBody>
      </p:sp>
      <p:sp>
        <p:nvSpPr>
          <p:cNvPr id="6" name="星形: 十角 5">
            <a:extLst>
              <a:ext uri="{FF2B5EF4-FFF2-40B4-BE49-F238E27FC236}">
                <a16:creationId xmlns:a16="http://schemas.microsoft.com/office/drawing/2014/main" id="{18AE8DAD-5E7C-462F-A6F1-3DB6BF83A5CF}"/>
              </a:ext>
            </a:extLst>
          </p:cNvPr>
          <p:cNvSpPr/>
          <p:nvPr/>
        </p:nvSpPr>
        <p:spPr>
          <a:xfrm>
            <a:off x="7820138" y="1819368"/>
            <a:ext cx="992786" cy="992786"/>
          </a:xfrm>
          <a:prstGeom prst="star10">
            <a:avLst/>
          </a:prstGeom>
          <a:solidFill>
            <a:srgbClr val="9B1717"/>
          </a:solidFill>
          <a:ln w="6350" cap="flat">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spcBef>
                <a:spcPts val="600"/>
              </a:spcBef>
            </a:pPr>
            <a:r>
              <a:rPr lang="en-US" altLang="zh-CN" sz="1100" dirty="0">
                <a:solidFill>
                  <a:schemeClr val="bg1"/>
                </a:solidFill>
                <a:latin typeface="Arial" pitchFamily="34" charset="0"/>
                <a:cs typeface="Arial" pitchFamily="34" charset="0"/>
              </a:rPr>
              <a:t>Reserve:</a:t>
            </a:r>
          </a:p>
          <a:p>
            <a:pPr algn="ctr">
              <a:spcBef>
                <a:spcPts val="600"/>
              </a:spcBef>
            </a:pPr>
            <a:r>
              <a:rPr lang="en-US" altLang="zh-CN" sz="1100" dirty="0">
                <a:solidFill>
                  <a:schemeClr val="bg1"/>
                </a:solidFill>
                <a:latin typeface="Arial" pitchFamily="34" charset="0"/>
                <a:cs typeface="Arial" pitchFamily="34" charset="0"/>
              </a:rPr>
              <a:t>7.5 B</a:t>
            </a:r>
          </a:p>
        </p:txBody>
      </p:sp>
      <p:cxnSp>
        <p:nvCxnSpPr>
          <p:cNvPr id="8" name="直接连接符 7">
            <a:extLst>
              <a:ext uri="{FF2B5EF4-FFF2-40B4-BE49-F238E27FC236}">
                <a16:creationId xmlns:a16="http://schemas.microsoft.com/office/drawing/2014/main" id="{0D3983FF-3354-436F-BAAA-71390540C98C}"/>
              </a:ext>
            </a:extLst>
          </p:cNvPr>
          <p:cNvCxnSpPr>
            <a:cxnSpLocks/>
            <a:stCxn id="5" idx="0"/>
          </p:cNvCxnSpPr>
          <p:nvPr/>
        </p:nvCxnSpPr>
        <p:spPr>
          <a:xfrm>
            <a:off x="6660417" y="1312894"/>
            <a:ext cx="1656114" cy="506474"/>
          </a:xfrm>
          <a:prstGeom prst="line">
            <a:avLst/>
          </a:prstGeom>
          <a:ln w="19050">
            <a:solidFill>
              <a:srgbClr val="9B1717"/>
            </a:solidFill>
          </a:ln>
        </p:spPr>
        <p:style>
          <a:lnRef idx="1">
            <a:schemeClr val="accent1"/>
          </a:lnRef>
          <a:fillRef idx="0">
            <a:schemeClr val="accent1"/>
          </a:fillRef>
          <a:effectRef idx="0">
            <a:schemeClr val="accent1"/>
          </a:effectRef>
          <a:fontRef idx="minor">
            <a:schemeClr val="tx1"/>
          </a:fontRef>
        </p:style>
      </p:cxnSp>
      <p:cxnSp>
        <p:nvCxnSpPr>
          <p:cNvPr id="10" name="直接连接符 9">
            <a:extLst>
              <a:ext uri="{FF2B5EF4-FFF2-40B4-BE49-F238E27FC236}">
                <a16:creationId xmlns:a16="http://schemas.microsoft.com/office/drawing/2014/main" id="{537F6F3F-D8B6-4DD3-B896-C42774BB408D}"/>
              </a:ext>
            </a:extLst>
          </p:cNvPr>
          <p:cNvCxnSpPr>
            <a:cxnSpLocks/>
            <a:stCxn id="5" idx="4"/>
          </p:cNvCxnSpPr>
          <p:nvPr/>
        </p:nvCxnSpPr>
        <p:spPr>
          <a:xfrm>
            <a:off x="6660417" y="2812154"/>
            <a:ext cx="1656114" cy="0"/>
          </a:xfrm>
          <a:prstGeom prst="line">
            <a:avLst/>
          </a:prstGeom>
          <a:ln w="19050">
            <a:solidFill>
              <a:srgbClr val="9B1717"/>
            </a:solidFill>
          </a:ln>
        </p:spPr>
        <p:style>
          <a:lnRef idx="1">
            <a:schemeClr val="accent1"/>
          </a:lnRef>
          <a:fillRef idx="0">
            <a:schemeClr val="accent1"/>
          </a:fillRef>
          <a:effectRef idx="0">
            <a:schemeClr val="accent1"/>
          </a:effectRef>
          <a:fontRef idx="minor">
            <a:schemeClr val="tx1"/>
          </a:fontRef>
        </p:style>
      </p:cxnSp>
      <p:sp>
        <p:nvSpPr>
          <p:cNvPr id="14" name="矩形 13">
            <a:extLst>
              <a:ext uri="{FF2B5EF4-FFF2-40B4-BE49-F238E27FC236}">
                <a16:creationId xmlns:a16="http://schemas.microsoft.com/office/drawing/2014/main" id="{2DA137ED-6084-41D7-97D6-954B6BDBFF53}"/>
              </a:ext>
            </a:extLst>
          </p:cNvPr>
          <p:cNvSpPr/>
          <p:nvPr/>
        </p:nvSpPr>
        <p:spPr>
          <a:xfrm>
            <a:off x="345138" y="1161541"/>
            <a:ext cx="5155418" cy="432049"/>
          </a:xfrm>
          <a:prstGeom prst="rect">
            <a:avLst/>
          </a:prstGeom>
          <a:solidFill>
            <a:srgbClr val="9B1717"/>
          </a:solidFill>
          <a:ln w="6350" cap="flat">
            <a:noFill/>
            <a:miter lim="800000"/>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r>
              <a:rPr lang="en-US" altLang="zh-CN" sz="1400" b="1" dirty="0">
                <a:latin typeface="Arial" pitchFamily="34" charset="0"/>
                <a:cs typeface="Arial" pitchFamily="34" charset="0"/>
              </a:rPr>
              <a:t>1. Accrue appropriate risk reserves</a:t>
            </a:r>
          </a:p>
        </p:txBody>
      </p:sp>
      <p:sp>
        <p:nvSpPr>
          <p:cNvPr id="15" name="矩形 14">
            <a:extLst>
              <a:ext uri="{FF2B5EF4-FFF2-40B4-BE49-F238E27FC236}">
                <a16:creationId xmlns:a16="http://schemas.microsoft.com/office/drawing/2014/main" id="{016090F9-F9D8-4E4D-8E80-060269E5AD67}"/>
              </a:ext>
            </a:extLst>
          </p:cNvPr>
          <p:cNvSpPr/>
          <p:nvPr/>
        </p:nvSpPr>
        <p:spPr>
          <a:xfrm>
            <a:off x="345138" y="4810400"/>
            <a:ext cx="5155418" cy="432000"/>
          </a:xfrm>
          <a:prstGeom prst="rect">
            <a:avLst/>
          </a:prstGeom>
          <a:solidFill>
            <a:srgbClr val="9B1717"/>
          </a:solidFill>
          <a:ln w="6350" cap="flat">
            <a:noFill/>
            <a:miter lim="800000"/>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r>
              <a:rPr lang="en-US" altLang="zh-CN" sz="1400" b="1" dirty="0">
                <a:latin typeface="Arial" pitchFamily="34" charset="0"/>
                <a:cs typeface="Arial" pitchFamily="34" charset="0"/>
              </a:rPr>
              <a:t>2. Time-matched asset allocation</a:t>
            </a:r>
          </a:p>
        </p:txBody>
      </p:sp>
      <p:sp>
        <p:nvSpPr>
          <p:cNvPr id="16" name="矩形 15">
            <a:extLst>
              <a:ext uri="{FF2B5EF4-FFF2-40B4-BE49-F238E27FC236}">
                <a16:creationId xmlns:a16="http://schemas.microsoft.com/office/drawing/2014/main" id="{CCB9797E-4783-4AD7-808D-A7ADA6864BC8}"/>
              </a:ext>
            </a:extLst>
          </p:cNvPr>
          <p:cNvSpPr/>
          <p:nvPr/>
        </p:nvSpPr>
        <p:spPr>
          <a:xfrm>
            <a:off x="345138" y="5445065"/>
            <a:ext cx="5090256" cy="840230"/>
          </a:xfrm>
          <a:prstGeom prst="rect">
            <a:avLst/>
          </a:prstGeom>
        </p:spPr>
        <p:txBody>
          <a:bodyPr wrap="square">
            <a:spAutoFit/>
          </a:bodyPr>
          <a:lstStyle/>
          <a:p>
            <a:pPr marL="342900" lvl="1" indent="-342900">
              <a:lnSpc>
                <a:spcPct val="90000"/>
              </a:lnSpc>
              <a:spcBef>
                <a:spcPts val="600"/>
              </a:spcBef>
              <a:buClr>
                <a:schemeClr val="bg2"/>
              </a:buClr>
              <a:buFont typeface="Wingdings" panose="05000000000000000000" pitchFamily="2" charset="2"/>
              <a:buChar char="p"/>
            </a:pPr>
            <a:r>
              <a:rPr lang="en-US" altLang="zh-CN" sz="1800" dirty="0">
                <a:latin typeface="Arial" pitchFamily="34" charset="0"/>
                <a:cs typeface="Arial" pitchFamily="34" charset="0"/>
              </a:rPr>
              <a:t>Allocates assets of appropriate duration according to the inflow and outflow to reduce liquidity risk</a:t>
            </a:r>
          </a:p>
        </p:txBody>
      </p:sp>
      <p:pic>
        <p:nvPicPr>
          <p:cNvPr id="7" name="图片 6">
            <a:extLst>
              <a:ext uri="{FF2B5EF4-FFF2-40B4-BE49-F238E27FC236}">
                <a16:creationId xmlns:a16="http://schemas.microsoft.com/office/drawing/2014/main" id="{5577593E-87B5-4C4A-975D-03470E40EEBE}"/>
              </a:ext>
            </a:extLst>
          </p:cNvPr>
          <p:cNvPicPr>
            <a:picLocks noChangeAspect="1"/>
          </p:cNvPicPr>
          <p:nvPr/>
        </p:nvPicPr>
        <p:blipFill>
          <a:blip r:embed="rId3"/>
          <a:stretch>
            <a:fillRect/>
          </a:stretch>
        </p:blipFill>
        <p:spPr>
          <a:xfrm>
            <a:off x="5643418" y="3731360"/>
            <a:ext cx="3917300" cy="2751647"/>
          </a:xfrm>
          <a:prstGeom prst="rect">
            <a:avLst/>
          </a:prstGeom>
        </p:spPr>
      </p:pic>
      <p:sp>
        <p:nvSpPr>
          <p:cNvPr id="13" name="矩形: 圆角 12">
            <a:extLst>
              <a:ext uri="{FF2B5EF4-FFF2-40B4-BE49-F238E27FC236}">
                <a16:creationId xmlns:a16="http://schemas.microsoft.com/office/drawing/2014/main" id="{8FF311FD-842B-4EC7-A111-32C1B4E6211B}"/>
              </a:ext>
            </a:extLst>
          </p:cNvPr>
          <p:cNvSpPr/>
          <p:nvPr/>
        </p:nvSpPr>
        <p:spPr>
          <a:xfrm>
            <a:off x="5716002" y="3183474"/>
            <a:ext cx="3844715" cy="453748"/>
          </a:xfrm>
          <a:prstGeom prst="roundRect">
            <a:avLst>
              <a:gd name="adj" fmla="val 30771"/>
            </a:avLst>
          </a:prstGeom>
          <a:noFill/>
          <a:ln w="19050" cap="flat">
            <a:solidFill>
              <a:srgbClr val="9B1717"/>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r>
              <a:rPr lang="en-US" altLang="zh-CN" sz="1400" b="1" dirty="0">
                <a:solidFill>
                  <a:srgbClr val="9B1717"/>
                </a:solidFill>
                <a:latin typeface="Arial" pitchFamily="34" charset="0"/>
                <a:cs typeface="Arial" pitchFamily="34" charset="0"/>
              </a:rPr>
              <a:t>MMFs’ trend:</a:t>
            </a:r>
          </a:p>
          <a:p>
            <a:pPr algn="ctr"/>
            <a:r>
              <a:rPr lang="en-US" altLang="zh-CN" sz="1400" b="1" dirty="0">
                <a:solidFill>
                  <a:srgbClr val="9B1717"/>
                </a:solidFill>
                <a:latin typeface="Arial" pitchFamily="34" charset="0"/>
                <a:cs typeface="Arial" pitchFamily="34" charset="0"/>
              </a:rPr>
              <a:t>short-term asset -&gt; long-term asset  </a:t>
            </a:r>
          </a:p>
        </p:txBody>
      </p:sp>
    </p:spTree>
    <p:extLst>
      <p:ext uri="{BB962C8B-B14F-4D97-AF65-F5344CB8AC3E}">
        <p14:creationId xmlns:p14="http://schemas.microsoft.com/office/powerpoint/2010/main" val="19117876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a:extLst>
              <a:ext uri="{FF2B5EF4-FFF2-40B4-BE49-F238E27FC236}">
                <a16:creationId xmlns:a16="http://schemas.microsoft.com/office/drawing/2014/main" id="{723624B9-D502-42BC-912D-22967F1E90EF}"/>
              </a:ext>
            </a:extLst>
          </p:cNvPr>
          <p:cNvSpPr>
            <a:spLocks noGrp="1"/>
          </p:cNvSpPr>
          <p:nvPr>
            <p:ph type="title"/>
          </p:nvPr>
        </p:nvSpPr>
        <p:spPr>
          <a:xfrm>
            <a:off x="264840" y="296863"/>
            <a:ext cx="9368110" cy="611187"/>
          </a:xfrm>
        </p:spPr>
        <p:txBody>
          <a:bodyPr/>
          <a:lstStyle/>
          <a:p>
            <a:r>
              <a:rPr lang="en-US" altLang="zh-CN" dirty="0"/>
              <a:t>1.4 The problem we want to solve</a:t>
            </a:r>
            <a:endParaRPr lang="zh-CN" altLang="en-US" dirty="0"/>
          </a:p>
        </p:txBody>
      </p:sp>
      <p:sp>
        <p:nvSpPr>
          <p:cNvPr id="3" name="文本框 2">
            <a:extLst>
              <a:ext uri="{FF2B5EF4-FFF2-40B4-BE49-F238E27FC236}">
                <a16:creationId xmlns:a16="http://schemas.microsoft.com/office/drawing/2014/main" id="{B540C896-B216-4236-A647-84B7A8B2D5AF}"/>
              </a:ext>
            </a:extLst>
          </p:cNvPr>
          <p:cNvSpPr txBox="1"/>
          <p:nvPr/>
        </p:nvSpPr>
        <p:spPr>
          <a:xfrm>
            <a:off x="188870" y="1139451"/>
            <a:ext cx="9659879" cy="2129814"/>
          </a:xfrm>
          <a:prstGeom prst="rect">
            <a:avLst/>
          </a:prstGeom>
          <a:noFill/>
          <a:ln w="6350" cap="flat">
            <a:noFill/>
            <a:miter lim="800000"/>
          </a:ln>
        </p:spPr>
        <p:txBody>
          <a:bodyPr wrap="square" lIns="0" tIns="0" rIns="0" bIns="0" rtlCol="0" anchor="t" anchorCtr="0">
            <a:spAutoFit/>
          </a:bodyPr>
          <a:lstStyle/>
          <a:p>
            <a:pPr marL="342900" indent="-342900">
              <a:lnSpc>
                <a:spcPct val="90000"/>
              </a:lnSpc>
              <a:spcBef>
                <a:spcPts val="600"/>
              </a:spcBef>
              <a:buClr>
                <a:schemeClr val="bg2"/>
              </a:buClr>
              <a:buFont typeface="Wingdings" panose="05000000000000000000" pitchFamily="2" charset="2"/>
              <a:buChar char="p"/>
            </a:pPr>
            <a:r>
              <a:rPr lang="en-US" altLang="zh-CN" sz="1800" b="1" dirty="0">
                <a:solidFill>
                  <a:srgbClr val="9B1717"/>
                </a:solidFill>
                <a:latin typeface="Arial" pitchFamily="34" charset="0"/>
                <a:cs typeface="Arial" pitchFamily="34" charset="0"/>
              </a:rPr>
              <a:t>Prediction model: </a:t>
            </a:r>
            <a:r>
              <a:rPr lang="en-US" altLang="zh-CN" sz="1800" dirty="0">
                <a:latin typeface="Arial" pitchFamily="34" charset="0"/>
                <a:cs typeface="Arial" pitchFamily="34" charset="0"/>
              </a:rPr>
              <a:t>Forecast the future fund inflows and outflows of </a:t>
            </a:r>
            <a:r>
              <a:rPr lang="en-US" altLang="zh-CN" sz="1800" dirty="0" err="1">
                <a:latin typeface="Arial" pitchFamily="34" charset="0"/>
                <a:cs typeface="Arial" pitchFamily="34" charset="0"/>
              </a:rPr>
              <a:t>Yu’e</a:t>
            </a:r>
            <a:r>
              <a:rPr lang="en-US" altLang="zh-CN" sz="1800" dirty="0">
                <a:latin typeface="Arial" pitchFamily="34" charset="0"/>
                <a:cs typeface="Arial" pitchFamily="34" charset="0"/>
              </a:rPr>
              <a:t> Bao </a:t>
            </a:r>
          </a:p>
          <a:p>
            <a:pPr marL="342900" indent="-342900">
              <a:lnSpc>
                <a:spcPct val="90000"/>
              </a:lnSpc>
              <a:spcBef>
                <a:spcPts val="600"/>
              </a:spcBef>
              <a:buClr>
                <a:schemeClr val="bg2"/>
              </a:buClr>
              <a:buFont typeface="Wingdings" panose="05000000000000000000" pitchFamily="2" charset="2"/>
              <a:buChar char="p"/>
            </a:pPr>
            <a:r>
              <a:rPr lang="en-US" altLang="zh-CN" sz="1800" b="1" dirty="0">
                <a:solidFill>
                  <a:srgbClr val="9B1717"/>
                </a:solidFill>
                <a:latin typeface="Arial" pitchFamily="34" charset="0"/>
                <a:cs typeface="Arial" pitchFamily="34" charset="0"/>
              </a:rPr>
              <a:t>Application: </a:t>
            </a:r>
            <a:r>
              <a:rPr lang="en-US" altLang="zh-CN" sz="1800" dirty="0">
                <a:latin typeface="Arial" pitchFamily="34" charset="0"/>
                <a:cs typeface="Arial" pitchFamily="34" charset="0"/>
              </a:rPr>
              <a:t>For fund managers’ reference to manage positions and make risk reserve</a:t>
            </a:r>
          </a:p>
          <a:p>
            <a:pPr marL="342900" indent="-342900">
              <a:lnSpc>
                <a:spcPct val="90000"/>
              </a:lnSpc>
              <a:spcBef>
                <a:spcPts val="600"/>
              </a:spcBef>
              <a:buClr>
                <a:schemeClr val="bg2"/>
              </a:buClr>
              <a:buFont typeface="Wingdings" panose="05000000000000000000" pitchFamily="2" charset="2"/>
              <a:buChar char="p"/>
            </a:pPr>
            <a:r>
              <a:rPr lang="en-US" altLang="zh-CN" sz="1800" b="1" dirty="0">
                <a:solidFill>
                  <a:srgbClr val="9B1717"/>
                </a:solidFill>
                <a:latin typeface="Arial" pitchFamily="34" charset="0"/>
                <a:cs typeface="Arial" pitchFamily="34" charset="0"/>
              </a:rPr>
              <a:t>Data selection: </a:t>
            </a:r>
            <a:r>
              <a:rPr lang="en-US" altLang="zh-CN" sz="1800" dirty="0">
                <a:latin typeface="Arial" pitchFamily="34" charset="0"/>
                <a:cs typeface="Arial" pitchFamily="34" charset="0"/>
              </a:rPr>
              <a:t>Purchase / redemption amount in 2014, since CSRC’s regulation in 2017 is an important exogenous variable</a:t>
            </a:r>
          </a:p>
          <a:p>
            <a:pPr marL="342900" indent="-342900">
              <a:lnSpc>
                <a:spcPct val="90000"/>
              </a:lnSpc>
              <a:spcBef>
                <a:spcPts val="600"/>
              </a:spcBef>
              <a:buClr>
                <a:schemeClr val="bg2"/>
              </a:buClr>
              <a:buFont typeface="Wingdings" panose="05000000000000000000" pitchFamily="2" charset="2"/>
              <a:buChar char="p"/>
            </a:pPr>
            <a:r>
              <a:rPr lang="en-US" altLang="zh-CN" sz="1800" b="1" dirty="0">
                <a:solidFill>
                  <a:srgbClr val="9B1717"/>
                </a:solidFill>
                <a:latin typeface="Arial" pitchFamily="34" charset="0"/>
                <a:cs typeface="Arial" pitchFamily="34" charset="0"/>
              </a:rPr>
              <a:t>Features</a:t>
            </a:r>
            <a:r>
              <a:rPr lang="en-US" altLang="zh-CN" sz="1800" dirty="0">
                <a:latin typeface="Arial" pitchFamily="34" charset="0"/>
                <a:cs typeface="Arial" pitchFamily="34" charset="0"/>
              </a:rPr>
              <a:t> might affect </a:t>
            </a:r>
            <a:r>
              <a:rPr lang="en-US" altLang="zh-CN" sz="1800" dirty="0" err="1">
                <a:latin typeface="Arial" pitchFamily="34" charset="0"/>
                <a:cs typeface="Arial" pitchFamily="34" charset="0"/>
              </a:rPr>
              <a:t>Yu’e</a:t>
            </a:r>
            <a:r>
              <a:rPr lang="en-US" altLang="zh-CN" sz="1800" dirty="0">
                <a:latin typeface="Arial" pitchFamily="34" charset="0"/>
                <a:cs typeface="Arial" pitchFamily="34" charset="0"/>
              </a:rPr>
              <a:t> Bao funds inflow and outflow.</a:t>
            </a:r>
          </a:p>
          <a:p>
            <a:pPr marL="821863" lvl="1" indent="-342900">
              <a:lnSpc>
                <a:spcPct val="90000"/>
              </a:lnSpc>
              <a:spcBef>
                <a:spcPts val="600"/>
              </a:spcBef>
              <a:buClr>
                <a:schemeClr val="bg2"/>
              </a:buClr>
              <a:buFont typeface="Wingdings" panose="05000000000000000000" pitchFamily="2" charset="2"/>
              <a:buChar char="ü"/>
            </a:pPr>
            <a:r>
              <a:rPr lang="en-US" altLang="zh-CN" sz="1800" dirty="0">
                <a:latin typeface="Arial" pitchFamily="34" charset="0"/>
                <a:cs typeface="Arial" pitchFamily="34" charset="0"/>
              </a:rPr>
              <a:t>Macro features: SHIBOR, stock market expected returns (investor opportunity cost)</a:t>
            </a:r>
          </a:p>
          <a:p>
            <a:pPr marL="821863" lvl="1" indent="-342900">
              <a:lnSpc>
                <a:spcPct val="90000"/>
              </a:lnSpc>
              <a:spcBef>
                <a:spcPts val="600"/>
              </a:spcBef>
              <a:buClr>
                <a:schemeClr val="bg2"/>
              </a:buClr>
              <a:buFont typeface="Wingdings" panose="05000000000000000000" pitchFamily="2" charset="2"/>
              <a:buChar char="ü"/>
            </a:pPr>
            <a:r>
              <a:rPr lang="en-US" altLang="zh-CN" sz="1800" dirty="0">
                <a:latin typeface="Arial" pitchFamily="34" charset="0"/>
                <a:cs typeface="Arial" pitchFamily="34" charset="0"/>
              </a:rPr>
              <a:t>Micro features: user liquidity preference (holiday, weekend…),</a:t>
            </a:r>
            <a:r>
              <a:rPr lang="zh-CN" altLang="en-US" sz="1800" dirty="0">
                <a:latin typeface="Arial" pitchFamily="34" charset="0"/>
                <a:cs typeface="Arial" pitchFamily="34" charset="0"/>
              </a:rPr>
              <a:t> </a:t>
            </a:r>
            <a:r>
              <a:rPr lang="en-US" altLang="zh-CN" sz="1800" dirty="0">
                <a:latin typeface="Arial" pitchFamily="34" charset="0"/>
                <a:cs typeface="Arial" pitchFamily="34" charset="0"/>
              </a:rPr>
              <a:t>time-series</a:t>
            </a:r>
            <a:r>
              <a:rPr lang="zh-CN" altLang="en-US" sz="1800" dirty="0">
                <a:latin typeface="Arial" pitchFamily="34" charset="0"/>
                <a:cs typeface="Arial" pitchFamily="34" charset="0"/>
              </a:rPr>
              <a:t> </a:t>
            </a:r>
            <a:r>
              <a:rPr lang="en-US" altLang="zh-CN" sz="1800" dirty="0">
                <a:latin typeface="Arial" pitchFamily="34" charset="0"/>
                <a:cs typeface="Arial" pitchFamily="34" charset="0"/>
              </a:rPr>
              <a:t>correlation</a:t>
            </a:r>
          </a:p>
        </p:txBody>
      </p:sp>
      <p:grpSp>
        <p:nvGrpSpPr>
          <p:cNvPr id="5" name="组合 4">
            <a:extLst>
              <a:ext uri="{FF2B5EF4-FFF2-40B4-BE49-F238E27FC236}">
                <a16:creationId xmlns:a16="http://schemas.microsoft.com/office/drawing/2014/main" id="{D0181D3C-08DB-4F94-88E1-748428580CE2}"/>
              </a:ext>
            </a:extLst>
          </p:cNvPr>
          <p:cNvGrpSpPr/>
          <p:nvPr/>
        </p:nvGrpSpPr>
        <p:grpSpPr>
          <a:xfrm>
            <a:off x="264840" y="3645818"/>
            <a:ext cx="4514345" cy="3146294"/>
            <a:chOff x="641646" y="3290209"/>
            <a:chExt cx="8748971" cy="3146294"/>
          </a:xfrm>
        </p:grpSpPr>
        <p:graphicFrame>
          <p:nvGraphicFramePr>
            <p:cNvPr id="6" name="图表 5">
              <a:extLst>
                <a:ext uri="{FF2B5EF4-FFF2-40B4-BE49-F238E27FC236}">
                  <a16:creationId xmlns:a16="http://schemas.microsoft.com/office/drawing/2014/main" id="{49A26BE8-BF61-4DAE-8AB9-6B5911FB5889}"/>
                </a:ext>
              </a:extLst>
            </p:cNvPr>
            <p:cNvGraphicFramePr>
              <a:graphicFrameLocks/>
            </p:cNvGraphicFramePr>
            <p:nvPr/>
          </p:nvGraphicFramePr>
          <p:xfrm>
            <a:off x="641646" y="3290209"/>
            <a:ext cx="8720353" cy="3146294"/>
          </p:xfrm>
          <a:graphic>
            <a:graphicData uri="http://schemas.openxmlformats.org/drawingml/2006/chart">
              <c:chart xmlns:c="http://schemas.openxmlformats.org/drawingml/2006/chart" xmlns:r="http://schemas.openxmlformats.org/officeDocument/2006/relationships" r:id="rId2"/>
            </a:graphicData>
          </a:graphic>
        </p:graphicFrame>
        <p:cxnSp>
          <p:nvCxnSpPr>
            <p:cNvPr id="9" name="直接连接符 8">
              <a:extLst>
                <a:ext uri="{FF2B5EF4-FFF2-40B4-BE49-F238E27FC236}">
                  <a16:creationId xmlns:a16="http://schemas.microsoft.com/office/drawing/2014/main" id="{B6DB0473-EFB8-47F7-9724-9CF1BE98B497}"/>
                </a:ext>
              </a:extLst>
            </p:cNvPr>
            <p:cNvCxnSpPr>
              <a:cxnSpLocks/>
            </p:cNvCxnSpPr>
            <p:nvPr/>
          </p:nvCxnSpPr>
          <p:spPr>
            <a:xfrm>
              <a:off x="828120" y="5126413"/>
              <a:ext cx="8562497" cy="0"/>
            </a:xfrm>
            <a:prstGeom prst="line">
              <a:avLst/>
            </a:prstGeom>
            <a:noFill/>
            <a:ln w="19050" cap="flat">
              <a:solidFill>
                <a:srgbClr val="9B1717"/>
              </a:solidFill>
              <a:prstDash val="dash"/>
              <a:miter lim="800000"/>
            </a:ln>
          </p:spPr>
          <p:style>
            <a:lnRef idx="2">
              <a:schemeClr val="accent1">
                <a:shade val="50000"/>
              </a:schemeClr>
            </a:lnRef>
            <a:fillRef idx="1">
              <a:schemeClr val="accent1"/>
            </a:fillRef>
            <a:effectRef idx="0">
              <a:schemeClr val="accent1"/>
            </a:effectRef>
            <a:fontRef idx="minor">
              <a:schemeClr val="lt1"/>
            </a:fontRef>
          </p:style>
        </p:cxnSp>
        <p:cxnSp>
          <p:nvCxnSpPr>
            <p:cNvPr id="10" name="连接符: 肘形 9">
              <a:extLst>
                <a:ext uri="{FF2B5EF4-FFF2-40B4-BE49-F238E27FC236}">
                  <a16:creationId xmlns:a16="http://schemas.microsoft.com/office/drawing/2014/main" id="{DCD77496-5121-41A4-BCE9-A50C0E2F8BCB}"/>
                </a:ext>
              </a:extLst>
            </p:cNvPr>
            <p:cNvCxnSpPr>
              <a:cxnSpLocks/>
            </p:cNvCxnSpPr>
            <p:nvPr/>
          </p:nvCxnSpPr>
          <p:spPr>
            <a:xfrm rot="16200000" flipH="1">
              <a:off x="1648293" y="5234746"/>
              <a:ext cx="563995" cy="381598"/>
            </a:xfrm>
            <a:prstGeom prst="bentConnector3">
              <a:avLst>
                <a:gd name="adj1" fmla="val 99096"/>
              </a:avLst>
            </a:prstGeom>
            <a:ln w="19050" cap="flat">
              <a:solidFill>
                <a:srgbClr val="9B1717"/>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1" name="文本框 10">
              <a:extLst>
                <a:ext uri="{FF2B5EF4-FFF2-40B4-BE49-F238E27FC236}">
                  <a16:creationId xmlns:a16="http://schemas.microsoft.com/office/drawing/2014/main" id="{85A77305-F431-48B4-87CE-0D8A6078B4EA}"/>
                </a:ext>
              </a:extLst>
            </p:cNvPr>
            <p:cNvSpPr txBox="1"/>
            <p:nvPr/>
          </p:nvSpPr>
          <p:spPr>
            <a:xfrm>
              <a:off x="2195886" y="5616445"/>
              <a:ext cx="4364434" cy="193898"/>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1400" dirty="0">
                  <a:solidFill>
                    <a:srgbClr val="9B1717"/>
                  </a:solidFill>
                  <a:latin typeface="Arial" pitchFamily="34" charset="0"/>
                  <a:cs typeface="Arial" pitchFamily="34" charset="0"/>
                </a:rPr>
                <a:t>2-year time deposit rate</a:t>
              </a:r>
              <a:endParaRPr lang="zh-CN" altLang="en-US" sz="1400" dirty="0">
                <a:solidFill>
                  <a:srgbClr val="9B1717"/>
                </a:solidFill>
                <a:latin typeface="Arial" pitchFamily="34" charset="0"/>
                <a:cs typeface="Arial" pitchFamily="34" charset="0"/>
              </a:endParaRPr>
            </a:p>
          </p:txBody>
        </p:sp>
      </p:grpSp>
      <p:sp>
        <p:nvSpPr>
          <p:cNvPr id="13" name="矩形 12">
            <a:extLst>
              <a:ext uri="{FF2B5EF4-FFF2-40B4-BE49-F238E27FC236}">
                <a16:creationId xmlns:a16="http://schemas.microsoft.com/office/drawing/2014/main" id="{8E101CA0-848A-41F1-AEB7-277A4C117AEA}"/>
              </a:ext>
            </a:extLst>
          </p:cNvPr>
          <p:cNvSpPr/>
          <p:nvPr/>
        </p:nvSpPr>
        <p:spPr>
          <a:xfrm>
            <a:off x="188871" y="3380634"/>
            <a:ext cx="4651515" cy="300805"/>
          </a:xfrm>
          <a:prstGeom prst="rect">
            <a:avLst/>
          </a:prstGeom>
          <a:solidFill>
            <a:srgbClr val="9B1717"/>
          </a:solidFill>
          <a:ln w="6350" cap="flat">
            <a:noFill/>
            <a:miter lim="800000"/>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r>
              <a:rPr lang="en-US" altLang="zh-CN" sz="1400" b="1" dirty="0" err="1">
                <a:latin typeface="Arial" pitchFamily="34" charset="0"/>
                <a:cs typeface="Arial" pitchFamily="34" charset="0"/>
              </a:rPr>
              <a:t>Tianhong</a:t>
            </a:r>
            <a:r>
              <a:rPr lang="en-US" altLang="zh-CN" sz="1400" b="1" dirty="0">
                <a:latin typeface="Arial" pitchFamily="34" charset="0"/>
                <a:cs typeface="Arial" pitchFamily="34" charset="0"/>
              </a:rPr>
              <a:t> </a:t>
            </a:r>
            <a:r>
              <a:rPr lang="en-US" altLang="zh-CN" sz="1400" b="1" dirty="0" err="1">
                <a:latin typeface="Arial" pitchFamily="34" charset="0"/>
                <a:cs typeface="Arial" pitchFamily="34" charset="0"/>
              </a:rPr>
              <a:t>Yu’e</a:t>
            </a:r>
            <a:r>
              <a:rPr lang="en-US" altLang="zh-CN" sz="1400" b="1" dirty="0">
                <a:latin typeface="Arial" pitchFamily="34" charset="0"/>
                <a:cs typeface="Arial" pitchFamily="34" charset="0"/>
              </a:rPr>
              <a:t> Bao’s rate of return</a:t>
            </a:r>
          </a:p>
        </p:txBody>
      </p:sp>
      <p:sp>
        <p:nvSpPr>
          <p:cNvPr id="14" name="矩形 13">
            <a:extLst>
              <a:ext uri="{FF2B5EF4-FFF2-40B4-BE49-F238E27FC236}">
                <a16:creationId xmlns:a16="http://schemas.microsoft.com/office/drawing/2014/main" id="{4CF92C30-4536-4900-9246-0D8A6006424C}"/>
              </a:ext>
            </a:extLst>
          </p:cNvPr>
          <p:cNvSpPr/>
          <p:nvPr/>
        </p:nvSpPr>
        <p:spPr>
          <a:xfrm>
            <a:off x="5114931" y="3380633"/>
            <a:ext cx="4229763" cy="300805"/>
          </a:xfrm>
          <a:prstGeom prst="rect">
            <a:avLst/>
          </a:prstGeom>
          <a:solidFill>
            <a:srgbClr val="9B1717"/>
          </a:solidFill>
          <a:ln w="6350" cap="flat">
            <a:noFill/>
            <a:miter lim="800000"/>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r>
              <a:rPr lang="en-US" altLang="zh-CN" sz="1400" b="1" dirty="0">
                <a:latin typeface="Arial" pitchFamily="34" charset="0"/>
                <a:cs typeface="Arial" pitchFamily="34" charset="0"/>
              </a:rPr>
              <a:t>Change in scale of different funds</a:t>
            </a:r>
          </a:p>
        </p:txBody>
      </p:sp>
      <p:pic>
        <p:nvPicPr>
          <p:cNvPr id="12" name="图片 11">
            <a:extLst>
              <a:ext uri="{FF2B5EF4-FFF2-40B4-BE49-F238E27FC236}">
                <a16:creationId xmlns:a16="http://schemas.microsoft.com/office/drawing/2014/main" id="{152A4A19-37C8-49B2-B8A0-E9D109772430}"/>
              </a:ext>
            </a:extLst>
          </p:cNvPr>
          <p:cNvPicPr>
            <a:picLocks noChangeAspect="1"/>
          </p:cNvPicPr>
          <p:nvPr/>
        </p:nvPicPr>
        <p:blipFill>
          <a:blip r:embed="rId3"/>
          <a:stretch>
            <a:fillRect/>
          </a:stretch>
        </p:blipFill>
        <p:spPr>
          <a:xfrm>
            <a:off x="5080681" y="3776544"/>
            <a:ext cx="4264013" cy="2984443"/>
          </a:xfrm>
          <a:prstGeom prst="rect">
            <a:avLst/>
          </a:prstGeom>
        </p:spPr>
      </p:pic>
      <p:sp>
        <p:nvSpPr>
          <p:cNvPr id="16" name="等腰三角形 15">
            <a:extLst>
              <a:ext uri="{FF2B5EF4-FFF2-40B4-BE49-F238E27FC236}">
                <a16:creationId xmlns:a16="http://schemas.microsoft.com/office/drawing/2014/main" id="{15BE0101-6722-4833-B58C-9943561DCED6}"/>
              </a:ext>
            </a:extLst>
          </p:cNvPr>
          <p:cNvSpPr/>
          <p:nvPr/>
        </p:nvSpPr>
        <p:spPr>
          <a:xfrm flipV="1">
            <a:off x="2899978" y="4742584"/>
            <a:ext cx="223890" cy="193009"/>
          </a:xfrm>
          <a:prstGeom prst="triangle">
            <a:avLst/>
          </a:prstGeom>
          <a:solidFill>
            <a:srgbClr val="9B1717"/>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zh-CN" altLang="en-US" sz="1400" dirty="0" err="1">
              <a:solidFill>
                <a:schemeClr val="bg1"/>
              </a:solidFill>
              <a:latin typeface="Arial" pitchFamily="34" charset="0"/>
              <a:cs typeface="Arial" pitchFamily="34" charset="0"/>
            </a:endParaRPr>
          </a:p>
        </p:txBody>
      </p:sp>
      <p:sp>
        <p:nvSpPr>
          <p:cNvPr id="17" name="文本框 16">
            <a:extLst>
              <a:ext uri="{FF2B5EF4-FFF2-40B4-BE49-F238E27FC236}">
                <a16:creationId xmlns:a16="http://schemas.microsoft.com/office/drawing/2014/main" id="{D123E6F6-63B4-446F-90E4-BAE774A57272}"/>
              </a:ext>
            </a:extLst>
          </p:cNvPr>
          <p:cNvSpPr txBox="1"/>
          <p:nvPr/>
        </p:nvSpPr>
        <p:spPr>
          <a:xfrm>
            <a:off x="2467930" y="4509914"/>
            <a:ext cx="1625188" cy="1938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400" b="1" dirty="0">
                <a:solidFill>
                  <a:srgbClr val="9B1717"/>
                </a:solidFill>
                <a:latin typeface="Arial" pitchFamily="34" charset="0"/>
                <a:cs typeface="Arial" pitchFamily="34" charset="0"/>
              </a:rPr>
              <a:t>CSRC’s Regulation</a:t>
            </a:r>
            <a:endParaRPr lang="zh-CN" altLang="en-US" sz="1400" b="1" dirty="0">
              <a:solidFill>
                <a:srgbClr val="9B1717"/>
              </a:solidFill>
              <a:latin typeface="Arial" pitchFamily="34" charset="0"/>
              <a:cs typeface="Arial" pitchFamily="34" charset="0"/>
            </a:endParaRPr>
          </a:p>
        </p:txBody>
      </p:sp>
    </p:spTree>
    <p:extLst>
      <p:ext uri="{BB962C8B-B14F-4D97-AF65-F5344CB8AC3E}">
        <p14:creationId xmlns:p14="http://schemas.microsoft.com/office/powerpoint/2010/main" val="34747445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标题 11"/>
          <p:cNvSpPr>
            <a:spLocks noGrp="1"/>
          </p:cNvSpPr>
          <p:nvPr>
            <p:ph type="ctrTitle"/>
          </p:nvPr>
        </p:nvSpPr>
        <p:spPr/>
        <p:txBody>
          <a:bodyPr/>
          <a:lstStyle/>
          <a:p>
            <a:endParaRPr lang="zh-CN" altLang="en-US" dirty="0">
              <a:latin typeface="Palatino Linotype" panose="02040502050505030304" pitchFamily="18" charset="0"/>
              <a:ea typeface="微软雅黑" panose="020B0503020204020204" pitchFamily="34" charset="-122"/>
              <a:sym typeface="Palatino Linotype" panose="02040502050505030304" pitchFamily="18" charset="0"/>
            </a:endParaRPr>
          </a:p>
        </p:txBody>
      </p:sp>
      <p:sp>
        <p:nvSpPr>
          <p:cNvPr id="13" name="副标题 12"/>
          <p:cNvSpPr>
            <a:spLocks noGrp="1"/>
          </p:cNvSpPr>
          <p:nvPr>
            <p:ph type="subTitle" idx="1"/>
          </p:nvPr>
        </p:nvSpPr>
        <p:spPr>
          <a:xfrm>
            <a:off x="265157" y="3065354"/>
            <a:ext cx="9361046" cy="263149"/>
          </a:xfrm>
        </p:spPr>
        <p:txBody>
          <a:bodyPr/>
          <a:lstStyle/>
          <a:p>
            <a:endParaRPr lang="zh-CN" altLang="en-US" dirty="0">
              <a:latin typeface="Palatino Linotype" panose="02040502050505030304" pitchFamily="18" charset="0"/>
              <a:ea typeface="微软雅黑" panose="020B0503020204020204" pitchFamily="34" charset="-122"/>
              <a:sym typeface="Palatino Linotype" panose="02040502050505030304" pitchFamily="18" charset="0"/>
            </a:endParaRPr>
          </a:p>
        </p:txBody>
      </p:sp>
      <p:grpSp>
        <p:nvGrpSpPr>
          <p:cNvPr id="42" name="组合 41"/>
          <p:cNvGrpSpPr/>
          <p:nvPr/>
        </p:nvGrpSpPr>
        <p:grpSpPr>
          <a:xfrm>
            <a:off x="0" y="2433247"/>
            <a:ext cx="9904095" cy="1965630"/>
            <a:chOff x="170694" y="177982"/>
            <a:chExt cx="3936004" cy="781165"/>
          </a:xfrm>
        </p:grpSpPr>
        <p:sp>
          <p:nvSpPr>
            <p:cNvPr id="44" name="等腰三角形 43"/>
            <p:cNvSpPr/>
            <p:nvPr/>
          </p:nvSpPr>
          <p:spPr>
            <a:xfrm>
              <a:off x="1233863" y="177982"/>
              <a:ext cx="355284" cy="356514"/>
            </a:xfrm>
            <a:prstGeom prst="triangl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4280" tIns="37140" rIns="74280" bIns="37140" rtlCol="0" anchor="ctr"/>
            <a:lstStyle/>
            <a:p>
              <a:pPr marL="0" marR="0" lvl="0" indent="0" algn="ctr" defTabSz="958215" rtl="0" eaLnBrk="1" fontAlgn="auto" latinLnBrk="0" hangingPunct="1">
                <a:lnSpc>
                  <a:spcPct val="100000"/>
                </a:lnSpc>
                <a:spcBef>
                  <a:spcPts val="0"/>
                </a:spcBef>
                <a:spcAft>
                  <a:spcPts val="0"/>
                </a:spcAft>
                <a:buClrTx/>
                <a:buSzTx/>
                <a:buFontTx/>
                <a:buNone/>
                <a:tabLst/>
                <a:defRPr/>
              </a:pPr>
              <a:endParaRPr kumimoji="0" lang="zh-CN" altLang="en-US" sz="2060" b="0" i="0" u="none" strike="noStrike" kern="1200" cap="none" spc="0" normalizeH="0" baseline="0" noProof="0">
                <a:ln>
                  <a:noFill/>
                </a:ln>
                <a:solidFill>
                  <a:srgbClr val="FFFFFF"/>
                </a:solidFill>
                <a:effectLst/>
                <a:uLnTx/>
                <a:uFillTx/>
                <a:latin typeface="Palatino Linotype" panose="02040502050505030304" pitchFamily="18" charset="0"/>
                <a:ea typeface="微软雅黑" panose="020B0503020204020204" pitchFamily="34" charset="-122"/>
                <a:sym typeface="Palatino Linotype" panose="02040502050505030304" pitchFamily="18" charset="0"/>
              </a:endParaRPr>
            </a:p>
          </p:txBody>
        </p:sp>
        <p:sp>
          <p:nvSpPr>
            <p:cNvPr id="45" name="等腰三角形 44"/>
            <p:cNvSpPr/>
            <p:nvPr/>
          </p:nvSpPr>
          <p:spPr>
            <a:xfrm flipV="1">
              <a:off x="200258" y="602633"/>
              <a:ext cx="355284" cy="356514"/>
            </a:xfrm>
            <a:prstGeom prst="triangl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4280" tIns="37140" rIns="74280" bIns="37140" rtlCol="0" anchor="ctr"/>
            <a:lstStyle/>
            <a:p>
              <a:pPr marL="0" marR="0" lvl="0" indent="0" algn="ctr" defTabSz="958215" rtl="0" eaLnBrk="1" fontAlgn="auto" latinLnBrk="0" hangingPunct="1">
                <a:lnSpc>
                  <a:spcPct val="100000"/>
                </a:lnSpc>
                <a:spcBef>
                  <a:spcPts val="0"/>
                </a:spcBef>
                <a:spcAft>
                  <a:spcPts val="0"/>
                </a:spcAft>
                <a:buClrTx/>
                <a:buSzTx/>
                <a:buFontTx/>
                <a:buNone/>
                <a:tabLst/>
                <a:defRPr/>
              </a:pPr>
              <a:endParaRPr kumimoji="0" lang="zh-CN" altLang="en-US" sz="2060" b="0" i="0" u="none" strike="noStrike" kern="1200" cap="none" spc="0" normalizeH="0" baseline="0" noProof="0">
                <a:ln>
                  <a:noFill/>
                </a:ln>
                <a:solidFill>
                  <a:srgbClr val="FFFFFF"/>
                </a:solidFill>
                <a:effectLst/>
                <a:uLnTx/>
                <a:uFillTx/>
                <a:latin typeface="Palatino Linotype" panose="02040502050505030304" pitchFamily="18" charset="0"/>
                <a:ea typeface="微软雅黑" panose="020B0503020204020204" pitchFamily="34" charset="-122"/>
                <a:sym typeface="Palatino Linotype" panose="02040502050505030304" pitchFamily="18" charset="0"/>
              </a:endParaRPr>
            </a:p>
          </p:txBody>
        </p:sp>
        <p:sp>
          <p:nvSpPr>
            <p:cNvPr id="46" name="矩形 45"/>
            <p:cNvSpPr/>
            <p:nvPr/>
          </p:nvSpPr>
          <p:spPr>
            <a:xfrm>
              <a:off x="170694" y="261768"/>
              <a:ext cx="3936004" cy="6119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4280" tIns="37140" rIns="74280" bIns="37140" rtlCol="0" anchor="ctr"/>
            <a:lstStyle/>
            <a:p>
              <a:pPr marL="0" marR="0" lvl="0" indent="0" algn="ctr" defTabSz="958215" rtl="0" eaLnBrk="1" fontAlgn="auto" latinLnBrk="0" hangingPunct="1">
                <a:lnSpc>
                  <a:spcPct val="100000"/>
                </a:lnSpc>
                <a:spcBef>
                  <a:spcPts val="0"/>
                </a:spcBef>
                <a:spcAft>
                  <a:spcPts val="0"/>
                </a:spcAft>
                <a:buClrTx/>
                <a:buSzTx/>
                <a:buFontTx/>
                <a:buNone/>
                <a:tabLst/>
                <a:defRPr/>
              </a:pPr>
              <a:endParaRPr kumimoji="0" lang="zh-CN" altLang="en-US" sz="2060" b="0" i="0" u="none" strike="noStrike" kern="1200" cap="none" spc="0" normalizeH="0" baseline="0" noProof="0">
                <a:ln>
                  <a:noFill/>
                </a:ln>
                <a:solidFill>
                  <a:srgbClr val="FFFFFF"/>
                </a:solidFill>
                <a:effectLst/>
                <a:uLnTx/>
                <a:uFillTx/>
                <a:latin typeface="Palatino Linotype" panose="02040502050505030304" pitchFamily="18" charset="0"/>
                <a:ea typeface="微软雅黑" panose="020B0503020204020204" pitchFamily="34" charset="-122"/>
                <a:sym typeface="Palatino Linotype" panose="02040502050505030304" pitchFamily="18" charset="0"/>
              </a:endParaRPr>
            </a:p>
          </p:txBody>
        </p:sp>
        <p:sp>
          <p:nvSpPr>
            <p:cNvPr id="47" name="平行四边形 46"/>
            <p:cNvSpPr/>
            <p:nvPr/>
          </p:nvSpPr>
          <p:spPr>
            <a:xfrm>
              <a:off x="376965" y="178257"/>
              <a:ext cx="1036076" cy="779005"/>
            </a:xfrm>
            <a:prstGeom prst="parallelogram">
              <a:avLst>
                <a:gd name="adj" fmla="val 48207"/>
              </a:avLst>
            </a:prstGeom>
            <a:solidFill>
              <a:srgbClr val="B42100"/>
            </a:solidFill>
            <a:ln>
              <a:noFill/>
            </a:ln>
          </p:spPr>
          <p:style>
            <a:lnRef idx="2">
              <a:schemeClr val="accent1">
                <a:shade val="50000"/>
              </a:schemeClr>
            </a:lnRef>
            <a:fillRef idx="1">
              <a:schemeClr val="accent1"/>
            </a:fillRef>
            <a:effectRef idx="0">
              <a:schemeClr val="accent1"/>
            </a:effectRef>
            <a:fontRef idx="minor">
              <a:schemeClr val="lt1"/>
            </a:fontRef>
          </p:style>
          <p:txBody>
            <a:bodyPr lIns="74280" tIns="37140" rIns="74280" bIns="37140" rtlCol="0" anchor="ctr"/>
            <a:lstStyle/>
            <a:p>
              <a:pPr marL="0" marR="0" lvl="0" indent="0" algn="ctr" defTabSz="958215" rtl="0" eaLnBrk="1" fontAlgn="auto" latinLnBrk="0" hangingPunct="1">
                <a:lnSpc>
                  <a:spcPct val="100000"/>
                </a:lnSpc>
                <a:spcBef>
                  <a:spcPts val="0"/>
                </a:spcBef>
                <a:spcAft>
                  <a:spcPts val="0"/>
                </a:spcAft>
                <a:buClrTx/>
                <a:buSzTx/>
                <a:buFontTx/>
                <a:buNone/>
                <a:tabLst/>
                <a:defRPr/>
              </a:pPr>
              <a:endParaRPr kumimoji="0" lang="zh-CN" altLang="en-US" sz="2060" b="0" i="0" u="none" strike="noStrike" kern="1200" cap="none" spc="0" normalizeH="0" baseline="0" noProof="0">
                <a:ln>
                  <a:noFill/>
                </a:ln>
                <a:solidFill>
                  <a:srgbClr val="FFFFFF"/>
                </a:solidFill>
                <a:effectLst/>
                <a:uLnTx/>
                <a:uFillTx/>
                <a:latin typeface="Palatino Linotype" panose="02040502050505030304" pitchFamily="18" charset="0"/>
                <a:ea typeface="微软雅黑" panose="020B0503020204020204" pitchFamily="34" charset="-122"/>
                <a:sym typeface="Palatino Linotype" panose="02040502050505030304" pitchFamily="18" charset="0"/>
              </a:endParaRPr>
            </a:p>
          </p:txBody>
        </p:sp>
        <p:sp>
          <p:nvSpPr>
            <p:cNvPr id="48" name="文本框 6"/>
            <p:cNvSpPr txBox="1"/>
            <p:nvPr/>
          </p:nvSpPr>
          <p:spPr>
            <a:xfrm>
              <a:off x="650907" y="284178"/>
              <a:ext cx="569115" cy="559222"/>
            </a:xfrm>
            <a:prstGeom prst="rect">
              <a:avLst/>
            </a:prstGeom>
            <a:noFill/>
          </p:spPr>
          <p:txBody>
            <a:bodyPr wrap="square" lIns="74280" tIns="37140" rIns="74280" bIns="37140" rtlCol="0">
              <a:spAutoFit/>
            </a:bodyPr>
            <a:lstStyle/>
            <a:p>
              <a:pPr marL="0" marR="0" lvl="0" indent="0" algn="l" defTabSz="958215" rtl="0" eaLnBrk="1" fontAlgn="auto" latinLnBrk="0" hangingPunct="1">
                <a:lnSpc>
                  <a:spcPct val="100000"/>
                </a:lnSpc>
                <a:spcBef>
                  <a:spcPts val="0"/>
                </a:spcBef>
                <a:spcAft>
                  <a:spcPts val="0"/>
                </a:spcAft>
                <a:buClrTx/>
                <a:buSzTx/>
                <a:buFontTx/>
                <a:buNone/>
                <a:tabLst/>
                <a:defRPr/>
              </a:pPr>
              <a:r>
                <a:rPr lang="en-US" altLang="zh-CN" sz="8665" dirty="0">
                  <a:solidFill>
                    <a:srgbClr val="FFFFFF">
                      <a:lumMod val="95000"/>
                    </a:srgbClr>
                  </a:solidFill>
                  <a:latin typeface="Palatino Linotype" panose="02040502050505030304" pitchFamily="18" charset="0"/>
                  <a:ea typeface="微软雅黑" panose="020B0503020204020204" pitchFamily="34" charset="-122"/>
                  <a:sym typeface="Palatino Linotype" panose="02040502050505030304" pitchFamily="18" charset="0"/>
                </a:rPr>
                <a:t>02</a:t>
              </a:r>
              <a:endParaRPr kumimoji="0" lang="zh-CN" altLang="en-US" sz="8665" b="0" i="0" u="none" strike="noStrike" kern="1200" cap="none" spc="0" normalizeH="0" baseline="0" noProof="0" dirty="0">
                <a:ln>
                  <a:noFill/>
                </a:ln>
                <a:solidFill>
                  <a:srgbClr val="FFFFFF">
                    <a:lumMod val="95000"/>
                  </a:srgbClr>
                </a:solidFill>
                <a:effectLst/>
                <a:uLnTx/>
                <a:uFillTx/>
                <a:latin typeface="Palatino Linotype" panose="02040502050505030304" pitchFamily="18" charset="0"/>
                <a:ea typeface="微软雅黑" panose="020B0503020204020204" pitchFamily="34" charset="-122"/>
                <a:sym typeface="Palatino Linotype" panose="02040502050505030304" pitchFamily="18" charset="0"/>
              </a:endParaRPr>
            </a:p>
          </p:txBody>
        </p:sp>
      </p:grpSp>
      <p:sp>
        <p:nvSpPr>
          <p:cNvPr id="49" name="TextBox 48"/>
          <p:cNvSpPr txBox="1"/>
          <p:nvPr/>
        </p:nvSpPr>
        <p:spPr>
          <a:xfrm>
            <a:off x="3143058" y="2787176"/>
            <a:ext cx="6740343" cy="1429224"/>
          </a:xfrm>
          <a:prstGeom prst="rect">
            <a:avLst/>
          </a:prstGeom>
          <a:noFill/>
        </p:spPr>
        <p:txBody>
          <a:bodyPr wrap="square" lIns="74285" tIns="37141" rIns="74285" bIns="37141" rtlCol="0">
            <a:spAutoFit/>
          </a:bodyPr>
          <a:lstStyle/>
          <a:p>
            <a:pPr lvl="0">
              <a:defRPr/>
            </a:pPr>
            <a:r>
              <a:rPr lang="en" altLang="zh-CN" sz="4400" b="1" dirty="0">
                <a:solidFill>
                  <a:srgbClr val="000000">
                    <a:lumMod val="75000"/>
                    <a:lumOff val="25000"/>
                  </a:srgbClr>
                </a:solidFill>
                <a:latin typeface="Palatino Linotype" panose="02040502050505030304" pitchFamily="18" charset="0"/>
                <a:ea typeface="微软雅黑" panose="020B0503020204020204" pitchFamily="34" charset="-122"/>
                <a:sym typeface="Palatino Linotype" panose="02040502050505030304" pitchFamily="18" charset="0"/>
              </a:rPr>
              <a:t>Feature Engineering</a:t>
            </a:r>
          </a:p>
          <a:p>
            <a:pPr lvl="0">
              <a:defRPr/>
            </a:pPr>
            <a:r>
              <a:rPr lang="en" altLang="zh-CN" sz="4400" b="1" dirty="0">
                <a:solidFill>
                  <a:srgbClr val="000000">
                    <a:lumMod val="75000"/>
                    <a:lumOff val="25000"/>
                  </a:srgbClr>
                </a:solidFill>
                <a:latin typeface="Palatino Linotype" panose="02040502050505030304" pitchFamily="18" charset="0"/>
                <a:ea typeface="微软雅黑" panose="020B0503020204020204" pitchFamily="34" charset="-122"/>
                <a:sym typeface="Palatino Linotype" panose="02040502050505030304" pitchFamily="18" charset="0"/>
              </a:rPr>
              <a:t>		 &amp; Selection</a:t>
            </a:r>
          </a:p>
        </p:txBody>
      </p:sp>
    </p:spTree>
    <p:extLst>
      <p:ext uri="{BB962C8B-B14F-4D97-AF65-F5344CB8AC3E}">
        <p14:creationId xmlns:p14="http://schemas.microsoft.com/office/powerpoint/2010/main" val="22433801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标题 11"/>
          <p:cNvSpPr>
            <a:spLocks noGrp="1"/>
          </p:cNvSpPr>
          <p:nvPr>
            <p:ph type="ctrTitle"/>
          </p:nvPr>
        </p:nvSpPr>
        <p:spPr/>
        <p:txBody>
          <a:bodyPr/>
          <a:lstStyle/>
          <a:p>
            <a:endParaRPr lang="zh-CN" altLang="en-US" dirty="0">
              <a:latin typeface="Palatino Linotype" panose="02040502050505030304" pitchFamily="18" charset="0"/>
              <a:ea typeface="微软雅黑" panose="020B0503020204020204" pitchFamily="34" charset="-122"/>
              <a:sym typeface="Palatino Linotype" panose="02040502050505030304" pitchFamily="18" charset="0"/>
            </a:endParaRPr>
          </a:p>
        </p:txBody>
      </p:sp>
      <p:sp>
        <p:nvSpPr>
          <p:cNvPr id="13" name="副标题 12"/>
          <p:cNvSpPr>
            <a:spLocks noGrp="1"/>
          </p:cNvSpPr>
          <p:nvPr>
            <p:ph type="subTitle" idx="1"/>
          </p:nvPr>
        </p:nvSpPr>
        <p:spPr>
          <a:xfrm>
            <a:off x="265157" y="3065354"/>
            <a:ext cx="9361046" cy="263149"/>
          </a:xfrm>
        </p:spPr>
        <p:txBody>
          <a:bodyPr/>
          <a:lstStyle/>
          <a:p>
            <a:endParaRPr lang="zh-CN" altLang="en-US" dirty="0">
              <a:latin typeface="Palatino Linotype" panose="02040502050505030304" pitchFamily="18" charset="0"/>
              <a:ea typeface="微软雅黑" panose="020B0503020204020204" pitchFamily="34" charset="-122"/>
              <a:sym typeface="Palatino Linotype" panose="02040502050505030304" pitchFamily="18" charset="0"/>
            </a:endParaRPr>
          </a:p>
        </p:txBody>
      </p:sp>
      <p:grpSp>
        <p:nvGrpSpPr>
          <p:cNvPr id="42" name="组合 41"/>
          <p:cNvGrpSpPr/>
          <p:nvPr/>
        </p:nvGrpSpPr>
        <p:grpSpPr>
          <a:xfrm>
            <a:off x="0" y="2433247"/>
            <a:ext cx="9904095" cy="1965630"/>
            <a:chOff x="170694" y="177982"/>
            <a:chExt cx="3936004" cy="781165"/>
          </a:xfrm>
        </p:grpSpPr>
        <p:sp>
          <p:nvSpPr>
            <p:cNvPr id="44" name="等腰三角形 43"/>
            <p:cNvSpPr/>
            <p:nvPr/>
          </p:nvSpPr>
          <p:spPr>
            <a:xfrm>
              <a:off x="1233863" y="177982"/>
              <a:ext cx="355284" cy="356514"/>
            </a:xfrm>
            <a:prstGeom prst="triangl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4280" tIns="37140" rIns="74280" bIns="37140" rtlCol="0" anchor="ctr"/>
            <a:lstStyle/>
            <a:p>
              <a:pPr marL="0" marR="0" lvl="0" indent="0" algn="ctr" defTabSz="958215" rtl="0" eaLnBrk="1" fontAlgn="auto" latinLnBrk="0" hangingPunct="1">
                <a:lnSpc>
                  <a:spcPct val="100000"/>
                </a:lnSpc>
                <a:spcBef>
                  <a:spcPts val="0"/>
                </a:spcBef>
                <a:spcAft>
                  <a:spcPts val="0"/>
                </a:spcAft>
                <a:buClrTx/>
                <a:buSzTx/>
                <a:buFontTx/>
                <a:buNone/>
                <a:tabLst/>
                <a:defRPr/>
              </a:pPr>
              <a:endParaRPr kumimoji="0" lang="zh-CN" altLang="en-US" sz="2060" b="0" i="0" u="none" strike="noStrike" kern="1200" cap="none" spc="0" normalizeH="0" baseline="0" noProof="0">
                <a:ln>
                  <a:noFill/>
                </a:ln>
                <a:solidFill>
                  <a:srgbClr val="FFFFFF"/>
                </a:solidFill>
                <a:effectLst/>
                <a:uLnTx/>
                <a:uFillTx/>
                <a:latin typeface="Palatino Linotype" panose="02040502050505030304" pitchFamily="18" charset="0"/>
                <a:ea typeface="微软雅黑" panose="020B0503020204020204" pitchFamily="34" charset="-122"/>
                <a:sym typeface="Palatino Linotype" panose="02040502050505030304" pitchFamily="18" charset="0"/>
              </a:endParaRPr>
            </a:p>
          </p:txBody>
        </p:sp>
        <p:sp>
          <p:nvSpPr>
            <p:cNvPr id="45" name="等腰三角形 44"/>
            <p:cNvSpPr/>
            <p:nvPr/>
          </p:nvSpPr>
          <p:spPr>
            <a:xfrm flipV="1">
              <a:off x="200258" y="602633"/>
              <a:ext cx="355284" cy="356514"/>
            </a:xfrm>
            <a:prstGeom prst="triangl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4280" tIns="37140" rIns="74280" bIns="37140" rtlCol="0" anchor="ctr"/>
            <a:lstStyle/>
            <a:p>
              <a:pPr marL="0" marR="0" lvl="0" indent="0" algn="ctr" defTabSz="958215" rtl="0" eaLnBrk="1" fontAlgn="auto" latinLnBrk="0" hangingPunct="1">
                <a:lnSpc>
                  <a:spcPct val="100000"/>
                </a:lnSpc>
                <a:spcBef>
                  <a:spcPts val="0"/>
                </a:spcBef>
                <a:spcAft>
                  <a:spcPts val="0"/>
                </a:spcAft>
                <a:buClrTx/>
                <a:buSzTx/>
                <a:buFontTx/>
                <a:buNone/>
                <a:tabLst/>
                <a:defRPr/>
              </a:pPr>
              <a:endParaRPr kumimoji="0" lang="zh-CN" altLang="en-US" sz="2060" b="0" i="0" u="none" strike="noStrike" kern="1200" cap="none" spc="0" normalizeH="0" baseline="0" noProof="0">
                <a:ln>
                  <a:noFill/>
                </a:ln>
                <a:solidFill>
                  <a:srgbClr val="FFFFFF"/>
                </a:solidFill>
                <a:effectLst/>
                <a:uLnTx/>
                <a:uFillTx/>
                <a:latin typeface="Palatino Linotype" panose="02040502050505030304" pitchFamily="18" charset="0"/>
                <a:ea typeface="微软雅黑" panose="020B0503020204020204" pitchFamily="34" charset="-122"/>
                <a:sym typeface="Palatino Linotype" panose="02040502050505030304" pitchFamily="18" charset="0"/>
              </a:endParaRPr>
            </a:p>
          </p:txBody>
        </p:sp>
        <p:sp>
          <p:nvSpPr>
            <p:cNvPr id="46" name="矩形 45"/>
            <p:cNvSpPr/>
            <p:nvPr/>
          </p:nvSpPr>
          <p:spPr>
            <a:xfrm>
              <a:off x="170694" y="261768"/>
              <a:ext cx="3936004" cy="6119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4280" tIns="37140" rIns="74280" bIns="37140" rtlCol="0" anchor="ctr"/>
            <a:lstStyle/>
            <a:p>
              <a:pPr marL="0" marR="0" lvl="0" indent="0" algn="ctr" defTabSz="958215" rtl="0" eaLnBrk="1" fontAlgn="auto" latinLnBrk="0" hangingPunct="1">
                <a:lnSpc>
                  <a:spcPct val="100000"/>
                </a:lnSpc>
                <a:spcBef>
                  <a:spcPts val="0"/>
                </a:spcBef>
                <a:spcAft>
                  <a:spcPts val="0"/>
                </a:spcAft>
                <a:buClrTx/>
                <a:buSzTx/>
                <a:buFontTx/>
                <a:buNone/>
                <a:tabLst/>
                <a:defRPr/>
              </a:pPr>
              <a:endParaRPr kumimoji="0" lang="zh-CN" altLang="en-US" sz="2060" b="0" i="0" u="none" strike="noStrike" kern="1200" cap="none" spc="0" normalizeH="0" baseline="0" noProof="0">
                <a:ln>
                  <a:noFill/>
                </a:ln>
                <a:solidFill>
                  <a:srgbClr val="FFFFFF"/>
                </a:solidFill>
                <a:effectLst/>
                <a:uLnTx/>
                <a:uFillTx/>
                <a:latin typeface="Palatino Linotype" panose="02040502050505030304" pitchFamily="18" charset="0"/>
                <a:ea typeface="微软雅黑" panose="020B0503020204020204" pitchFamily="34" charset="-122"/>
                <a:sym typeface="Palatino Linotype" panose="02040502050505030304" pitchFamily="18" charset="0"/>
              </a:endParaRPr>
            </a:p>
          </p:txBody>
        </p:sp>
        <p:sp>
          <p:nvSpPr>
            <p:cNvPr id="47" name="平行四边形 46"/>
            <p:cNvSpPr/>
            <p:nvPr/>
          </p:nvSpPr>
          <p:spPr>
            <a:xfrm>
              <a:off x="376965" y="178257"/>
              <a:ext cx="1036076" cy="779005"/>
            </a:xfrm>
            <a:prstGeom prst="parallelogram">
              <a:avLst>
                <a:gd name="adj" fmla="val 48207"/>
              </a:avLst>
            </a:prstGeom>
            <a:solidFill>
              <a:srgbClr val="B42100"/>
            </a:solidFill>
            <a:ln>
              <a:noFill/>
            </a:ln>
          </p:spPr>
          <p:style>
            <a:lnRef idx="2">
              <a:schemeClr val="accent1">
                <a:shade val="50000"/>
              </a:schemeClr>
            </a:lnRef>
            <a:fillRef idx="1">
              <a:schemeClr val="accent1"/>
            </a:fillRef>
            <a:effectRef idx="0">
              <a:schemeClr val="accent1"/>
            </a:effectRef>
            <a:fontRef idx="minor">
              <a:schemeClr val="lt1"/>
            </a:fontRef>
          </p:style>
          <p:txBody>
            <a:bodyPr lIns="74280" tIns="37140" rIns="74280" bIns="37140" rtlCol="0" anchor="ctr"/>
            <a:lstStyle/>
            <a:p>
              <a:pPr marL="0" marR="0" lvl="0" indent="0" algn="ctr" defTabSz="958215" rtl="0" eaLnBrk="1" fontAlgn="auto" latinLnBrk="0" hangingPunct="1">
                <a:lnSpc>
                  <a:spcPct val="100000"/>
                </a:lnSpc>
                <a:spcBef>
                  <a:spcPts val="0"/>
                </a:spcBef>
                <a:spcAft>
                  <a:spcPts val="0"/>
                </a:spcAft>
                <a:buClrTx/>
                <a:buSzTx/>
                <a:buFontTx/>
                <a:buNone/>
                <a:tabLst/>
                <a:defRPr/>
              </a:pPr>
              <a:endParaRPr kumimoji="0" lang="zh-CN" altLang="en-US" sz="2060" b="0" i="0" u="none" strike="noStrike" kern="1200" cap="none" spc="0" normalizeH="0" baseline="0" noProof="0">
                <a:ln>
                  <a:noFill/>
                </a:ln>
                <a:solidFill>
                  <a:srgbClr val="FFFFFF"/>
                </a:solidFill>
                <a:effectLst/>
                <a:uLnTx/>
                <a:uFillTx/>
                <a:latin typeface="Palatino Linotype" panose="02040502050505030304" pitchFamily="18" charset="0"/>
                <a:ea typeface="微软雅黑" panose="020B0503020204020204" pitchFamily="34" charset="-122"/>
                <a:sym typeface="Palatino Linotype" panose="02040502050505030304" pitchFamily="18" charset="0"/>
              </a:endParaRPr>
            </a:p>
          </p:txBody>
        </p:sp>
        <p:sp>
          <p:nvSpPr>
            <p:cNvPr id="48" name="文本框 6"/>
            <p:cNvSpPr txBox="1"/>
            <p:nvPr/>
          </p:nvSpPr>
          <p:spPr>
            <a:xfrm>
              <a:off x="650907" y="284178"/>
              <a:ext cx="569115" cy="519065"/>
            </a:xfrm>
            <a:prstGeom prst="rect">
              <a:avLst/>
            </a:prstGeom>
            <a:noFill/>
          </p:spPr>
          <p:txBody>
            <a:bodyPr wrap="square" lIns="74280" tIns="37140" rIns="74280" bIns="37140" rtlCol="0">
              <a:spAutoFit/>
            </a:bodyPr>
            <a:lstStyle/>
            <a:p>
              <a:pPr marL="0" marR="0" lvl="0" indent="0" algn="l" defTabSz="958215" rtl="0" eaLnBrk="1" fontAlgn="auto" latinLnBrk="0" hangingPunct="1">
                <a:lnSpc>
                  <a:spcPct val="100000"/>
                </a:lnSpc>
                <a:spcBef>
                  <a:spcPts val="0"/>
                </a:spcBef>
                <a:spcAft>
                  <a:spcPts val="0"/>
                </a:spcAft>
                <a:buClrTx/>
                <a:buSzTx/>
                <a:buFontTx/>
                <a:buNone/>
                <a:tabLst/>
                <a:defRPr/>
              </a:pPr>
              <a:r>
                <a:rPr lang="en-US" altLang="zh-CN" sz="8000" dirty="0">
                  <a:solidFill>
                    <a:srgbClr val="FFFFFF">
                      <a:lumMod val="95000"/>
                    </a:srgbClr>
                  </a:solidFill>
                  <a:latin typeface="Palatino Linotype" panose="02040502050505030304" pitchFamily="18" charset="0"/>
                  <a:ea typeface="微软雅黑" panose="020B0503020204020204" pitchFamily="34" charset="-122"/>
                  <a:sym typeface="Palatino Linotype" panose="02040502050505030304" pitchFamily="18" charset="0"/>
                </a:rPr>
                <a:t>2.1</a:t>
              </a:r>
              <a:endParaRPr kumimoji="0" lang="zh-CN" altLang="en-US" sz="8000" b="0" i="0" u="none" strike="noStrike" kern="1200" cap="none" spc="0" normalizeH="0" baseline="0" noProof="0" dirty="0">
                <a:ln>
                  <a:noFill/>
                </a:ln>
                <a:solidFill>
                  <a:srgbClr val="FFFFFF">
                    <a:lumMod val="95000"/>
                  </a:srgbClr>
                </a:solidFill>
                <a:effectLst/>
                <a:uLnTx/>
                <a:uFillTx/>
                <a:latin typeface="Palatino Linotype" panose="02040502050505030304" pitchFamily="18" charset="0"/>
                <a:ea typeface="微软雅黑" panose="020B0503020204020204" pitchFamily="34" charset="-122"/>
                <a:sym typeface="Palatino Linotype" panose="02040502050505030304" pitchFamily="18" charset="0"/>
              </a:endParaRPr>
            </a:p>
          </p:txBody>
        </p:sp>
      </p:grpSp>
      <p:sp>
        <p:nvSpPr>
          <p:cNvPr id="49" name="TextBox 48"/>
          <p:cNvSpPr txBox="1"/>
          <p:nvPr/>
        </p:nvSpPr>
        <p:spPr>
          <a:xfrm>
            <a:off x="3143058" y="2787176"/>
            <a:ext cx="6740343" cy="752116"/>
          </a:xfrm>
          <a:prstGeom prst="rect">
            <a:avLst/>
          </a:prstGeom>
          <a:noFill/>
        </p:spPr>
        <p:txBody>
          <a:bodyPr wrap="square" lIns="74285" tIns="37141" rIns="74285" bIns="37141" rtlCol="0">
            <a:spAutoFit/>
          </a:bodyPr>
          <a:lstStyle/>
          <a:p>
            <a:pPr lvl="0">
              <a:defRPr/>
            </a:pPr>
            <a:r>
              <a:rPr lang="en" altLang="zh-CN" sz="4400" b="1" dirty="0">
                <a:solidFill>
                  <a:srgbClr val="000000">
                    <a:lumMod val="75000"/>
                    <a:lumOff val="25000"/>
                  </a:srgbClr>
                </a:solidFill>
                <a:latin typeface="Palatino Linotype" panose="02040502050505030304" pitchFamily="18" charset="0"/>
                <a:ea typeface="微软雅黑" panose="020B0503020204020204" pitchFamily="34" charset="-122"/>
                <a:sym typeface="Palatino Linotype" panose="02040502050505030304" pitchFamily="18" charset="0"/>
              </a:rPr>
              <a:t>Feature Engineering</a:t>
            </a:r>
          </a:p>
        </p:txBody>
      </p:sp>
    </p:spTree>
    <p:extLst>
      <p:ext uri="{BB962C8B-B14F-4D97-AF65-F5344CB8AC3E}">
        <p14:creationId xmlns:p14="http://schemas.microsoft.com/office/powerpoint/2010/main" val="42497320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2077&quot;/&gt;&lt;CPresentation id=&quot;1&quot;&gt;&lt;m_precDefaultNumber&gt;&lt;m_chMinusSymbol&gt;-&lt;/m_chMinusSymbol&gt;&lt;m_chDecimalSymbol17909&gt;.&lt;/m_chDecimalSymbol17909&gt;&lt;m_nGroupingDigits17909 val=&quot;3&quot;/&gt;&lt;m_chGroupingSymbol17909&gt;,&lt;/m_chGroupingSymbol17909&gt;&lt;/m_precDefaultNumber&gt;&lt;m_precDefaultPercent&gt;&lt;m_chMinusSymbol&gt;-&lt;/m_chMinusSymbol&gt;&lt;m_nDecimalDigits17909 val=&quot;1&quot;/&gt;&lt;m_chDecimalSymbol17909&gt;.&lt;/m_chDecimalSymbol17909&gt;&lt;m_nGroupingDigits17909 val=&quot;3&quot;/&gt;&lt;m_chGroupingSymbol17909&gt;,&lt;/m_chGroupingSymbol17909&gt;&lt;m_strSuffix17909&gt;%&lt;/m_strSuffix17909&gt;&lt;/m_precDefaultPercent&gt;&lt;m_precDefaultDate&gt;&lt;m_strFormatTime&gt;%#m/%#d/%Y&lt;/m_strFormatTime&gt;&lt;/m_precDefaultDate&gt;&lt;m_precDefaultYear/&gt;&lt;m_precDefaultQuarter/&gt;&lt;m_precDefaultMonth/&gt;&lt;m_precDefaultWeek/&gt;&lt;m_precDefaultDay/&gt;&lt;m_mruColor&gt;&lt;m_vecMRU length=&quot;12&quot;&gt;&lt;elem m_fUsage=&quot;1.68322986240641190000E+000&quot;&gt;&lt;m_ppcolschidx val=&quot;0&quot;/&gt;&lt;m_rgb r=&quot;9b&quot; g=&quot;17&quot; b=&quot;17&quot;/&gt;&lt;/elem&gt;&lt;elem m_fUsage=&quot;1.50338772469263370000E+000&quot;&gt;&lt;m_ppcolschidx val=&quot;0&quot;/&gt;&lt;m_rgb r=&quot;e5&quot; g=&quot;52&quot; b=&quot;52&quot;/&gt;&lt;/elem&gt;&lt;elem m_fUsage=&quot;1.22240875340971660000E+000&quot;&gt;&lt;m_ppcolschidx val=&quot;0&quot;/&gt;&lt;m_rgb r=&quot;c0&quot; g=&quot;0&quot; b=&quot;0&quot;/&gt;&lt;/elem&gt;&lt;elem m_fUsage=&quot;1.01916297527188230000E+000&quot;&gt;&lt;m_ppcolschidx val=&quot;0&quot;/&gt;&lt;m_rgb r=&quot;ee&quot; g=&quot;8b&quot; b=&quot;8b&quot;/&gt;&lt;/elem&gt;&lt;elem m_fUsage=&quot;9.90952901816634310000E-001&quot;&gt;&lt;m_ppcolschidx val=&quot;0&quot;/&gt;&lt;m_rgb r=&quot;f6&quot; g=&quot;c5&quot; b=&quot;c5&quot;/&gt;&lt;/elem&gt;&lt;elem m_fUsage=&quot;7.96036907042989350000E-001&quot;&gt;&lt;m_ppcolschidx val=&quot;0&quot;/&gt;&lt;m_rgb r=&quot;8c&quot; g=&quot;0&quot; b=&quot;0&quot;/&gt;&lt;/elem&gt;&lt;elem m_fUsage=&quot;7.74929666165770640000E-001&quot;&gt;&lt;m_ppcolschidx val=&quot;0&quot;/&gt;&lt;m_rgb r=&quot;74&quot; g=&quot;11&quot; b=&quot;11&quot;/&gt;&lt;/elem&gt;&lt;elem m_fUsage=&quot;6.20506540339557430000E-001&quot;&gt;&lt;m_ppcolschidx val=&quot;0&quot;/&gt;&lt;m_rgb r=&quot;b7&quot; g=&quot;84&quot; b=&quot;84&quot;/&gt;&lt;/elem&gt;&lt;elem m_fUsage=&quot;5.37470833195205280000E-001&quot;&gt;&lt;m_ppcolschidx val=&quot;0&quot;/&gt;&lt;m_rgb r=&quot;c5&quot; g=&quot;a0&quot; b=&quot;a0&quot;/&gt;&lt;/elem&gt;&lt;elem m_fUsage=&quot;4.22298087940373430000E-001&quot;&gt;&lt;m_ppcolschidx val=&quot;0&quot;/&gt;&lt;m_rgb r=&quot;d6&quot; g=&quot;bf&quot; b=&quot;bf&quot;/&gt;&lt;/elem&gt;&lt;elem m_fUsage=&quot;2.57980839435674180000E-001&quot;&gt;&lt;m_ppcolschidx val=&quot;0&quot;/&gt;&lt;m_rgb r=&quot;73&quot; g=&quot;0&quot; b=&quot;0&quot;/&gt;&lt;/elem&gt;&lt;elem m_fUsage=&quot;1.65995699549193580000E-001&quot;&gt;&lt;m_ppcolschidx val=&quot;0&quot;/&gt;&lt;m_rgb r=&quot;4e&quot; g=&quot;c&quot; b=&quot;c&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KEztrqPu0.ccF8qdOw.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K8.aFC3p0ils54GIHuZg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8KEztrqPu0.ccF8qdOw.L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u9Q4iBO9pEmQU7xMrr1lr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YvNFgm0yKEuM.gZWhN5EO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K8.aFC3p0ils54GIHuZg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Eycrewi5U.utgikZoKmrA"/>
</p:tagLst>
</file>

<file path=ppt/theme/theme1.xml><?xml version="1.0" encoding="utf-8"?>
<a:theme xmlns:a="http://schemas.openxmlformats.org/drawingml/2006/main" name="CR Onlytext">
  <a:themeElements>
    <a:clrScheme name="ATK Color 2012_01">
      <a:dk1>
        <a:srgbClr val="000000"/>
      </a:dk1>
      <a:lt1>
        <a:srgbClr val="FFFFFF"/>
      </a:lt1>
      <a:dk2>
        <a:srgbClr val="778242"/>
      </a:dk2>
      <a:lt2>
        <a:srgbClr val="9B1717"/>
      </a:lt2>
      <a:accent1>
        <a:srgbClr val="364086"/>
      </a:accent1>
      <a:accent2>
        <a:srgbClr val="EFEEEC"/>
      </a:accent2>
      <a:accent3>
        <a:srgbClr val="ADABA1"/>
      </a:accent3>
      <a:accent4>
        <a:srgbClr val="858274"/>
      </a:accent4>
      <a:accent5>
        <a:srgbClr val="FCA248"/>
      </a:accent5>
      <a:accent6>
        <a:srgbClr val="CDD773"/>
      </a:accent6>
      <a:hlink>
        <a:srgbClr val="364086"/>
      </a:hlink>
      <a:folHlink>
        <a:srgbClr val="A3AADA"/>
      </a:folHlink>
    </a:clrScheme>
    <a:fontScheme name="ATK Font 2012_0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6350" cap="flat">
          <a:noFill/>
          <a:miter lim="800000"/>
        </a:ln>
      </a:spPr>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defPPr algn="ctr">
          <a:lnSpc>
            <a:spcPct val="90000"/>
          </a:lnSpc>
          <a:spcBef>
            <a:spcPts val="900"/>
          </a:spcBef>
          <a:defRPr sz="1400" dirty="0" err="1" smtClean="0">
            <a:solidFill>
              <a:schemeClr val="bg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accent3"/>
          </a:solidFill>
          <a:miter lim="8000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w="6350" cap="flat">
          <a:noFill/>
          <a:miter lim="800000"/>
        </a:ln>
      </a:spPr>
      <a:bodyPr wrap="none" lIns="0" tIns="0" rIns="0" bIns="0" rtlCol="0" anchor="t" anchorCtr="0">
        <a:spAutoFit/>
      </a:bodyPr>
      <a:lstStyle>
        <a:defPPr>
          <a:lnSpc>
            <a:spcPct val="90000"/>
          </a:lnSpc>
          <a:spcBef>
            <a:spcPts val="600"/>
          </a:spcBef>
          <a:buClr>
            <a:schemeClr val="bg2"/>
          </a:buClr>
          <a:defRPr sz="1400" dirty="0" smtClean="0">
            <a:latin typeface="Arial" pitchFamily="34" charset="0"/>
            <a:cs typeface="Arial" pitchFamily="34" charset="0"/>
          </a:defRPr>
        </a:defPPr>
      </a:lstStyle>
    </a:txDef>
  </a:objectDefaults>
  <a:extraClrSchemeLst/>
  <a:custClrLst>
    <a:custClr name="Custom Color 1">
      <a:srgbClr val="9B1717"/>
    </a:custClr>
    <a:custClr name="Custom Color 2">
      <a:srgbClr val="DCDC00"/>
    </a:custClr>
    <a:custClr name="Custom Color 3">
      <a:srgbClr val="289055"/>
    </a:custClr>
  </a:custClrLst>
</a:theme>
</file>

<file path=ppt/theme/theme2.xml><?xml version="1.0" encoding="utf-8"?>
<a:theme xmlns:a="http://schemas.openxmlformats.org/drawingml/2006/main" name="Office Theme">
  <a:themeElements>
    <a:clrScheme name="ATK Color 2012_01">
      <a:dk1>
        <a:srgbClr val="000000"/>
      </a:dk1>
      <a:lt1>
        <a:srgbClr val="FFFFFF"/>
      </a:lt1>
      <a:dk2>
        <a:srgbClr val="778242"/>
      </a:dk2>
      <a:lt2>
        <a:srgbClr val="9B1717"/>
      </a:lt2>
      <a:accent1>
        <a:srgbClr val="364086"/>
      </a:accent1>
      <a:accent2>
        <a:srgbClr val="EFEEEC"/>
      </a:accent2>
      <a:accent3>
        <a:srgbClr val="ADABA1"/>
      </a:accent3>
      <a:accent4>
        <a:srgbClr val="858274"/>
      </a:accent4>
      <a:accent5>
        <a:srgbClr val="FCA248"/>
      </a:accent5>
      <a:accent6>
        <a:srgbClr val="CDD773"/>
      </a:accent6>
      <a:hlink>
        <a:srgbClr val="364086"/>
      </a:hlink>
      <a:folHlink>
        <a:srgbClr val="A3AAD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3254</Words>
  <Application>Microsoft Office PowerPoint</Application>
  <PresentationFormat>自定义</PresentationFormat>
  <Paragraphs>423</Paragraphs>
  <Slides>50</Slides>
  <Notes>16</Notes>
  <HiddenSlides>0</HiddenSlides>
  <MMClips>0</MMClips>
  <ScaleCrop>false</ScaleCrop>
  <HeadingPairs>
    <vt:vector size="8" baseType="variant">
      <vt:variant>
        <vt:lpstr>已用的字体</vt:lpstr>
      </vt:variant>
      <vt:variant>
        <vt:i4>8</vt:i4>
      </vt:variant>
      <vt:variant>
        <vt:lpstr>主题</vt:lpstr>
      </vt:variant>
      <vt:variant>
        <vt:i4>1</vt:i4>
      </vt:variant>
      <vt:variant>
        <vt:lpstr>嵌入 OLE 服务器</vt:lpstr>
      </vt:variant>
      <vt:variant>
        <vt:i4>1</vt:i4>
      </vt:variant>
      <vt:variant>
        <vt:lpstr>幻灯片标题</vt:lpstr>
      </vt:variant>
      <vt:variant>
        <vt:i4>50</vt:i4>
      </vt:variant>
    </vt:vector>
  </HeadingPairs>
  <TitlesOfParts>
    <vt:vector size="60" baseType="lpstr">
      <vt:lpstr>Palatino</vt:lpstr>
      <vt:lpstr>等线</vt:lpstr>
      <vt:lpstr>Arial</vt:lpstr>
      <vt:lpstr>Cambria Math</vt:lpstr>
      <vt:lpstr>Palatino Linotype</vt:lpstr>
      <vt:lpstr>Vrinda</vt:lpstr>
      <vt:lpstr>Wingdings</vt:lpstr>
      <vt:lpstr>Wingdings 2</vt:lpstr>
      <vt:lpstr>CR Onlytext</vt:lpstr>
      <vt:lpstr>think-cell Slide</vt:lpstr>
      <vt:lpstr>Inflow and outflow forecasts of Yuebao Monetary Fund</vt:lpstr>
      <vt:lpstr>CONTENTS</vt:lpstr>
      <vt:lpstr>PowerPoint 演示文稿</vt:lpstr>
      <vt:lpstr>1.1 What is Yu’e Bao?</vt:lpstr>
      <vt:lpstr>1.2 Why the scale of Yu’e Bao has fallen?</vt:lpstr>
      <vt:lpstr>1.3 Significance of inflow and outflow of Yu’e Bao</vt:lpstr>
      <vt:lpstr>1.4 The problem we want to solve</vt:lpstr>
      <vt:lpstr>PowerPoint 演示文稿</vt:lpstr>
      <vt:lpstr>PowerPoint 演示文稿</vt:lpstr>
      <vt:lpstr>Individual investors</vt:lpstr>
      <vt:lpstr>Holiday features</vt:lpstr>
      <vt:lpstr>× GC001  &amp;  √ Shibor</vt:lpstr>
      <vt:lpstr>Balance of Margin Trading &amp; Securities Lending</vt:lpstr>
      <vt:lpstr>Time series analysis</vt:lpstr>
      <vt:lpstr>Time series analysis</vt:lpstr>
      <vt:lpstr>Time series analysis</vt:lpstr>
      <vt:lpstr>Time series analysis</vt:lpstr>
      <vt:lpstr>Holiday Features</vt:lpstr>
      <vt:lpstr>PowerPoint 演示文稿</vt:lpstr>
      <vt:lpstr>Feature selection Process</vt:lpstr>
      <vt:lpstr>1. Delete features with low separation ability </vt:lpstr>
      <vt:lpstr>2. Delete features with Multi-collinearity  </vt:lpstr>
      <vt:lpstr>3. Delete features with low correlation  </vt:lpstr>
      <vt:lpstr>4. Select the features with high Shapley value  </vt:lpstr>
      <vt:lpstr>5. Select the features with high permutation importance  </vt:lpstr>
      <vt:lpstr>6. Get the intersection of these two selection method  </vt:lpstr>
      <vt:lpstr>PowerPoint 演示文稿</vt:lpstr>
      <vt:lpstr>3.1 Outline</vt:lpstr>
      <vt:lpstr>3.2 Multi-layer perception</vt:lpstr>
      <vt:lpstr>3.3 Gradient Boosted Decision Trees </vt:lpstr>
      <vt:lpstr>3.4 Modelling prediction</vt:lpstr>
      <vt:lpstr>3.5 Random Forest</vt:lpstr>
      <vt:lpstr>3.5 XGBoost</vt:lpstr>
      <vt:lpstr>PowerPoint 演示文稿</vt:lpstr>
      <vt:lpstr>4.1 Method selection</vt:lpstr>
      <vt:lpstr>4.2 Division of training set and test set</vt:lpstr>
      <vt:lpstr>4.3 Self constructed scoring model</vt:lpstr>
      <vt:lpstr>4.4 Prediction – April as test set</vt:lpstr>
      <vt:lpstr>4.5 Prediction – April as test set</vt:lpstr>
      <vt:lpstr>4.6 Prediction – April as test set</vt:lpstr>
      <vt:lpstr>4.7 Prediction – Online Score</vt:lpstr>
      <vt:lpstr>PowerPoint 演示文稿</vt:lpstr>
      <vt:lpstr>5.1 Differences between results and expectations</vt:lpstr>
      <vt:lpstr>5.2 Interpretation 1: Motivation of Yu’e Bao early users</vt:lpstr>
      <vt:lpstr> 5.3 Interpretation 2: Destination of the redemption</vt:lpstr>
      <vt:lpstr> 5.4 Summary, Prospect and Improvement</vt:lpstr>
      <vt:lpstr> References</vt:lpstr>
      <vt:lpstr> References</vt:lpstr>
      <vt:lpstr> References</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cp:lastPrinted>2020-01-13T05:13:10Z</cp:lastPrinted>
  <dcterms:created xsi:type="dcterms:W3CDTF">2014-03-26T02:17:58Z</dcterms:created>
  <dcterms:modified xsi:type="dcterms:W3CDTF">2020-01-13T06:58:05Z</dcterms:modified>
  <cp:version>112013</cp:version>
</cp:coreProperties>
</file>